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1"/>
  </p:sldMasterIdLst>
  <p:notesMasterIdLst>
    <p:notesMasterId r:id="rId19"/>
  </p:notesMasterIdLst>
  <p:handoutMasterIdLst>
    <p:handoutMasterId r:id="rId20"/>
  </p:handoutMasterIdLst>
  <p:sldIdLst>
    <p:sldId id="418" r:id="rId2"/>
    <p:sldId id="416" r:id="rId3"/>
    <p:sldId id="463" r:id="rId4"/>
    <p:sldId id="466" r:id="rId5"/>
    <p:sldId id="451" r:id="rId6"/>
    <p:sldId id="460" r:id="rId7"/>
    <p:sldId id="438" r:id="rId8"/>
    <p:sldId id="467" r:id="rId9"/>
    <p:sldId id="468" r:id="rId10"/>
    <p:sldId id="454" r:id="rId11"/>
    <p:sldId id="435" r:id="rId12"/>
    <p:sldId id="469" r:id="rId13"/>
    <p:sldId id="462" r:id="rId14"/>
    <p:sldId id="465" r:id="rId15"/>
    <p:sldId id="452" r:id="rId16"/>
    <p:sldId id="453" r:id="rId17"/>
    <p:sldId id="284" r:id="rId18"/>
  </p:sldIdLst>
  <p:sldSz cx="12192000" cy="6858000"/>
  <p:notesSz cx="7099300" cy="10223500"/>
  <p:custDataLst>
    <p:tags r:id="rId21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A88EC906-CBBC-4A55-8F44-1F4E2A71AA24}">
          <p14:sldIdLst>
            <p14:sldId id="418"/>
            <p14:sldId id="416"/>
            <p14:sldId id="463"/>
            <p14:sldId id="466"/>
            <p14:sldId id="451"/>
            <p14:sldId id="460"/>
            <p14:sldId id="438"/>
            <p14:sldId id="467"/>
            <p14:sldId id="468"/>
            <p14:sldId id="454"/>
            <p14:sldId id="435"/>
            <p14:sldId id="469"/>
            <p14:sldId id="462"/>
            <p14:sldId id="465"/>
            <p14:sldId id="452"/>
            <p14:sldId id="453"/>
          </p14:sldIdLst>
        </p14:section>
        <p14:section name="Capabilities" id="{002BCD04-4EB1-4478-AEE1-1A56DA75FBE8}">
          <p14:sldIdLst/>
        </p14:section>
        <p14:section name="Projects and Products" id="{CF28EC17-BFD6-4C2A-970E-687C15A7D0CC}">
          <p14:sldIdLst/>
        </p14:section>
        <p14:section name="Section 3" id="{600E6DBA-97DF-4E5A-AE40-20E6EA424317}">
          <p14:sldIdLst>
            <p14:sldId id="28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4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ssio Cassaro Grasselli" initials="CCG" lastIdx="7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808080"/>
    <a:srgbClr val="E4451A"/>
    <a:srgbClr val="FF6699"/>
    <a:srgbClr val="080808"/>
    <a:srgbClr val="B6B6B6"/>
    <a:srgbClr val="0066FF"/>
    <a:srgbClr val="777777"/>
    <a:srgbClr val="2D82FF"/>
    <a:srgbClr val="D5EA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AF606853-7671-496A-8E4F-DF71F8EC918B}" styleName="Estilo Escuro 1 - Ênfase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Estilo Escuro 1 - Ênfase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7853C-536D-4A76-A0AE-DD22124D55A5}" styleName="Estilo com Tema 1 - Ênfas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C4B1156A-380E-4F78-BDF5-A606A8083BF9}" styleName="Estilo Médio 4 - Ênfas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85" autoAdjust="0"/>
    <p:restoredTop sz="96441" autoAdjust="0"/>
  </p:normalViewPr>
  <p:slideViewPr>
    <p:cSldViewPr snapToGrid="0" snapToObjects="1">
      <p:cViewPr varScale="1">
        <p:scale>
          <a:sx n="70" d="100"/>
          <a:sy n="70" d="100"/>
        </p:scale>
        <p:origin x="450" y="60"/>
      </p:cViewPr>
      <p:guideLst>
        <p:guide orient="horz" pos="2160"/>
        <p:guide pos="3840"/>
        <p:guide orient="horz" pos="4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394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g"/><Relationship Id="rId1" Type="http://schemas.openxmlformats.org/officeDocument/2006/relationships/image" Target="../media/image12.gif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g"/><Relationship Id="rId1" Type="http://schemas.openxmlformats.org/officeDocument/2006/relationships/image" Target="../media/image12.gif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DFA9BB6-3794-423E-B0C3-49B5FD2965DC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5685577-DA9A-41E4-B135-2EE04478D607}">
      <dgm:prSet phldrT="[Texto]" custT="1"/>
      <dgm:spPr/>
      <dgm:t>
        <a:bodyPr/>
        <a:lstStyle/>
        <a:p>
          <a:endParaRPr lang="pt-BR" sz="2000" dirty="0" smtClean="0"/>
        </a:p>
        <a:p>
          <a:endParaRPr lang="pt-BR" sz="2000" dirty="0" smtClean="0"/>
        </a:p>
        <a:p>
          <a:r>
            <a:rPr lang="pt-BR" sz="1800" dirty="0" smtClean="0"/>
            <a:t>SPACE SYSTEMS:</a:t>
          </a:r>
          <a:endParaRPr lang="pt-BR" sz="1800" dirty="0" smtClean="0"/>
        </a:p>
        <a:p>
          <a:endParaRPr lang="pt-BR" dirty="0" smtClean="0"/>
        </a:p>
        <a:p>
          <a:endParaRPr lang="en-US" sz="1600" dirty="0"/>
        </a:p>
      </dgm:t>
    </dgm:pt>
    <dgm:pt modelId="{047B7730-27B2-4A49-B7CC-B562FFF2AF39}" type="parTrans" cxnId="{C155A6A1-BF0E-4AF0-B308-BF77EE876DDD}">
      <dgm:prSet/>
      <dgm:spPr/>
      <dgm:t>
        <a:bodyPr/>
        <a:lstStyle/>
        <a:p>
          <a:endParaRPr lang="en-US"/>
        </a:p>
      </dgm:t>
    </dgm:pt>
    <dgm:pt modelId="{07BED2F9-FDB9-4524-B868-94AD1B57DA4A}" type="sibTrans" cxnId="{C155A6A1-BF0E-4AF0-B308-BF77EE876DDD}">
      <dgm:prSet/>
      <dgm:spPr/>
      <dgm:t>
        <a:bodyPr/>
        <a:lstStyle/>
        <a:p>
          <a:endParaRPr lang="en-US"/>
        </a:p>
      </dgm:t>
    </dgm:pt>
    <dgm:pt modelId="{F284847D-3A36-4AFA-9A7F-56D089093A76}">
      <dgm:prSet phldrT="[Texto]" custT="1"/>
      <dgm:spPr/>
      <dgm:t>
        <a:bodyPr/>
        <a:lstStyle/>
        <a:p>
          <a:r>
            <a:rPr lang="pt-BR" sz="1800" dirty="0" smtClean="0"/>
            <a:t>SENSOR SYSTEMS:</a:t>
          </a:r>
          <a:endParaRPr lang="pt-BR" sz="1800" dirty="0" smtClean="0"/>
        </a:p>
      </dgm:t>
    </dgm:pt>
    <dgm:pt modelId="{20790359-E384-46D7-9B8B-293E52752609}" type="parTrans" cxnId="{9DCA5B3C-2769-4FEA-A304-5EDD362249CB}">
      <dgm:prSet/>
      <dgm:spPr/>
      <dgm:t>
        <a:bodyPr/>
        <a:lstStyle/>
        <a:p>
          <a:endParaRPr lang="en-US"/>
        </a:p>
      </dgm:t>
    </dgm:pt>
    <dgm:pt modelId="{1A818839-CADF-496A-AF8D-5F7B0952A2F0}" type="sibTrans" cxnId="{9DCA5B3C-2769-4FEA-A304-5EDD362249CB}">
      <dgm:prSet/>
      <dgm:spPr/>
      <dgm:t>
        <a:bodyPr/>
        <a:lstStyle/>
        <a:p>
          <a:endParaRPr lang="en-US"/>
        </a:p>
      </dgm:t>
    </dgm:pt>
    <dgm:pt modelId="{CEBAFA68-35E2-4AFD-B6EE-7D2E2A81792B}">
      <dgm:prSet phldrT="[Texto]" custT="1"/>
      <dgm:spPr/>
      <dgm:t>
        <a:bodyPr/>
        <a:lstStyle/>
        <a:p>
          <a:endParaRPr lang="pt-BR" sz="1800" dirty="0" smtClean="0"/>
        </a:p>
        <a:p>
          <a:endParaRPr lang="pt-BR" sz="1800" dirty="0" smtClean="0"/>
        </a:p>
        <a:p>
          <a:r>
            <a:rPr lang="pt-BR" sz="1800" dirty="0" smtClean="0"/>
            <a:t>ENERGY SYSTEMS:</a:t>
          </a:r>
          <a:endParaRPr lang="pt-BR" sz="1800" dirty="0" smtClean="0"/>
        </a:p>
        <a:p>
          <a:endParaRPr lang="pt-BR" sz="1800" dirty="0" smtClean="0"/>
        </a:p>
        <a:p>
          <a:endParaRPr lang="en-US" sz="1800" dirty="0"/>
        </a:p>
      </dgm:t>
    </dgm:pt>
    <dgm:pt modelId="{A7184E82-D3DE-4A6E-B8FD-EE4D8BD4D881}" type="parTrans" cxnId="{F5CA61DC-D63B-4767-88B3-FED8870DF87E}">
      <dgm:prSet/>
      <dgm:spPr/>
      <dgm:t>
        <a:bodyPr/>
        <a:lstStyle/>
        <a:p>
          <a:endParaRPr lang="en-US"/>
        </a:p>
      </dgm:t>
    </dgm:pt>
    <dgm:pt modelId="{85AFEE02-FAA1-4BF0-9498-2D3CB9A4DF70}" type="sibTrans" cxnId="{F5CA61DC-D63B-4767-88B3-FED8870DF87E}">
      <dgm:prSet/>
      <dgm:spPr/>
      <dgm:t>
        <a:bodyPr/>
        <a:lstStyle/>
        <a:p>
          <a:endParaRPr lang="en-US"/>
        </a:p>
      </dgm:t>
    </dgm:pt>
    <dgm:pt modelId="{965275FC-5042-4640-BA7A-38605C291FC9}">
      <dgm:prSet custT="1"/>
      <dgm:spPr/>
      <dgm:t>
        <a:bodyPr/>
        <a:lstStyle/>
        <a:p>
          <a:endParaRPr lang="pt-BR" sz="1800" dirty="0" smtClean="0"/>
        </a:p>
        <a:p>
          <a:r>
            <a:rPr lang="pt-BR" sz="1800" dirty="0" smtClean="0"/>
            <a:t>SCIENTIFIC ENGINEERING:</a:t>
          </a:r>
          <a:endParaRPr lang="pt-BR" sz="1800" dirty="0" smtClean="0"/>
        </a:p>
        <a:p>
          <a:endParaRPr lang="en-US" sz="1600" dirty="0"/>
        </a:p>
      </dgm:t>
    </dgm:pt>
    <dgm:pt modelId="{D6EECCB1-8D62-4CEA-9625-2B7D6D822DC5}" type="parTrans" cxnId="{E8205658-31B2-4C93-83BF-2A52CC7F0E11}">
      <dgm:prSet/>
      <dgm:spPr/>
      <dgm:t>
        <a:bodyPr/>
        <a:lstStyle/>
        <a:p>
          <a:endParaRPr lang="en-US"/>
        </a:p>
      </dgm:t>
    </dgm:pt>
    <dgm:pt modelId="{D0C18463-8058-43AA-A0D5-AEEE567F77F1}" type="sibTrans" cxnId="{E8205658-31B2-4C93-83BF-2A52CC7F0E11}">
      <dgm:prSet/>
      <dgm:spPr/>
      <dgm:t>
        <a:bodyPr/>
        <a:lstStyle/>
        <a:p>
          <a:endParaRPr lang="en-US"/>
        </a:p>
      </dgm:t>
    </dgm:pt>
    <dgm:pt modelId="{99CCB260-36FB-4022-949E-3C1ED38CA77A}">
      <dgm:prSet custT="1"/>
      <dgm:spPr/>
      <dgm:t>
        <a:bodyPr/>
        <a:lstStyle/>
        <a:p>
          <a:r>
            <a:rPr lang="pt-BR" sz="1800" dirty="0" smtClean="0"/>
            <a:t>AUTOMATIC TARGET RECOGNITION:</a:t>
          </a:r>
          <a:endParaRPr lang="pt-BR" sz="1800" dirty="0" smtClean="0"/>
        </a:p>
      </dgm:t>
    </dgm:pt>
    <dgm:pt modelId="{EF071749-5FB1-47AA-9D3A-E66722685BDB}" type="parTrans" cxnId="{CC61759B-EB4F-4451-AB07-A0C9BDFD9E86}">
      <dgm:prSet/>
      <dgm:spPr/>
      <dgm:t>
        <a:bodyPr/>
        <a:lstStyle/>
        <a:p>
          <a:endParaRPr lang="en-US"/>
        </a:p>
      </dgm:t>
    </dgm:pt>
    <dgm:pt modelId="{D3044F6F-247C-4096-8D0F-F7B47C2F06B7}" type="sibTrans" cxnId="{CC61759B-EB4F-4451-AB07-A0C9BDFD9E86}">
      <dgm:prSet/>
      <dgm:spPr/>
      <dgm:t>
        <a:bodyPr/>
        <a:lstStyle/>
        <a:p>
          <a:endParaRPr lang="en-US"/>
        </a:p>
      </dgm:t>
    </dgm:pt>
    <dgm:pt modelId="{4F0D0104-21A9-44B0-A0D0-82D7A6132EC7}" type="pres">
      <dgm:prSet presAssocID="{DDFA9BB6-3794-423E-B0C3-49B5FD2965DC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7541ABF-E665-4CCD-BDEE-5D53877FA041}" type="pres">
      <dgm:prSet presAssocID="{75685577-DA9A-41E4-B135-2EE04478D607}" presName="comp" presStyleCnt="0"/>
      <dgm:spPr/>
    </dgm:pt>
    <dgm:pt modelId="{5EA3ACF7-946D-46E3-A788-511FD0C983E5}" type="pres">
      <dgm:prSet presAssocID="{75685577-DA9A-41E4-B135-2EE04478D607}" presName="box" presStyleLbl="node1" presStyleIdx="0" presStyleCnt="5" custLinFactNeighborY="2624"/>
      <dgm:spPr/>
      <dgm:t>
        <a:bodyPr/>
        <a:lstStyle/>
        <a:p>
          <a:endParaRPr lang="en-US"/>
        </a:p>
      </dgm:t>
    </dgm:pt>
    <dgm:pt modelId="{98CE0440-0F66-4EAD-BD88-972784528CF5}" type="pres">
      <dgm:prSet presAssocID="{75685577-DA9A-41E4-B135-2EE04478D607}" presName="img" presStyleLbl="fgImgPlace1" presStyleIdx="0" presStyleCnt="5" custScaleX="8750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  <dgm:t>
        <a:bodyPr/>
        <a:lstStyle/>
        <a:p>
          <a:endParaRPr lang="en-US"/>
        </a:p>
      </dgm:t>
    </dgm:pt>
    <dgm:pt modelId="{755539D7-DB8F-45B3-98F0-2D6827451BB6}" type="pres">
      <dgm:prSet presAssocID="{75685577-DA9A-41E4-B135-2EE04478D607}" presName="text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406AF61-095F-431C-8D67-FB574D63C4A7}" type="pres">
      <dgm:prSet presAssocID="{07BED2F9-FDB9-4524-B868-94AD1B57DA4A}" presName="spacer" presStyleCnt="0"/>
      <dgm:spPr/>
    </dgm:pt>
    <dgm:pt modelId="{40A4004B-22A4-4FD2-A5DD-650E8EFFEE3E}" type="pres">
      <dgm:prSet presAssocID="{965275FC-5042-4640-BA7A-38605C291FC9}" presName="comp" presStyleCnt="0"/>
      <dgm:spPr/>
    </dgm:pt>
    <dgm:pt modelId="{A06829F6-EDED-431C-9081-1A41B2D123FD}" type="pres">
      <dgm:prSet presAssocID="{965275FC-5042-4640-BA7A-38605C291FC9}" presName="box" presStyleLbl="node1" presStyleIdx="1" presStyleCnt="5"/>
      <dgm:spPr/>
      <dgm:t>
        <a:bodyPr/>
        <a:lstStyle/>
        <a:p>
          <a:endParaRPr lang="en-US"/>
        </a:p>
      </dgm:t>
    </dgm:pt>
    <dgm:pt modelId="{63295631-9879-4C4C-BF83-CD90CB075F5C}" type="pres">
      <dgm:prSet presAssocID="{965275FC-5042-4640-BA7A-38605C291FC9}" presName="img" presStyleLbl="fgImgPlace1" presStyleIdx="1" presStyleCnt="5" custScaleX="89116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2000" r="-72000"/>
          </a:stretch>
        </a:blipFill>
      </dgm:spPr>
      <dgm:t>
        <a:bodyPr/>
        <a:lstStyle/>
        <a:p>
          <a:endParaRPr lang="en-US"/>
        </a:p>
      </dgm:t>
    </dgm:pt>
    <dgm:pt modelId="{46FEB15C-4C07-4903-90F9-76FAFDCDEE01}" type="pres">
      <dgm:prSet presAssocID="{965275FC-5042-4640-BA7A-38605C291FC9}" presName="text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AB23174-B730-4B60-9C52-BD21A8874193}" type="pres">
      <dgm:prSet presAssocID="{D0C18463-8058-43AA-A0D5-AEEE567F77F1}" presName="spacer" presStyleCnt="0"/>
      <dgm:spPr/>
    </dgm:pt>
    <dgm:pt modelId="{43FBA999-C4F6-4CE2-91A4-3DD2445BADEB}" type="pres">
      <dgm:prSet presAssocID="{F284847D-3A36-4AFA-9A7F-56D089093A76}" presName="comp" presStyleCnt="0"/>
      <dgm:spPr/>
    </dgm:pt>
    <dgm:pt modelId="{9CD37D22-6FDF-46FD-8CFB-A5C0922A9A8C}" type="pres">
      <dgm:prSet presAssocID="{F284847D-3A36-4AFA-9A7F-56D089093A76}" presName="box" presStyleLbl="node1" presStyleIdx="2" presStyleCnt="5"/>
      <dgm:spPr/>
      <dgm:t>
        <a:bodyPr/>
        <a:lstStyle/>
        <a:p>
          <a:endParaRPr lang="en-US"/>
        </a:p>
      </dgm:t>
    </dgm:pt>
    <dgm:pt modelId="{E562E843-42BD-4E9E-98FE-C25DAF65F894}" type="pres">
      <dgm:prSet presAssocID="{F284847D-3A36-4AFA-9A7F-56D089093A76}" presName="img" presStyleLbl="fgImgPlace1" presStyleIdx="2" presStyleCnt="5" custScaleX="87503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8000" r="-28000"/>
          </a:stretch>
        </a:blipFill>
      </dgm:spPr>
      <dgm:t>
        <a:bodyPr/>
        <a:lstStyle/>
        <a:p>
          <a:endParaRPr lang="en-US"/>
        </a:p>
      </dgm:t>
    </dgm:pt>
    <dgm:pt modelId="{6FDA6A2A-0554-4830-8843-88E4F2AAA613}" type="pres">
      <dgm:prSet presAssocID="{F284847D-3A36-4AFA-9A7F-56D089093A76}" presName="text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7621BF1-8A79-48D5-9598-046ECDC9F897}" type="pres">
      <dgm:prSet presAssocID="{1A818839-CADF-496A-AF8D-5F7B0952A2F0}" presName="spacer" presStyleCnt="0"/>
      <dgm:spPr/>
    </dgm:pt>
    <dgm:pt modelId="{4B408F25-D79D-47B8-917A-578F67DFBE18}" type="pres">
      <dgm:prSet presAssocID="{99CCB260-36FB-4022-949E-3C1ED38CA77A}" presName="comp" presStyleCnt="0"/>
      <dgm:spPr/>
    </dgm:pt>
    <dgm:pt modelId="{EE42D430-863C-4BCD-AF85-95B578219933}" type="pres">
      <dgm:prSet presAssocID="{99CCB260-36FB-4022-949E-3C1ED38CA77A}" presName="box" presStyleLbl="node1" presStyleIdx="3" presStyleCnt="5"/>
      <dgm:spPr/>
      <dgm:t>
        <a:bodyPr/>
        <a:lstStyle/>
        <a:p>
          <a:endParaRPr lang="en-US"/>
        </a:p>
      </dgm:t>
    </dgm:pt>
    <dgm:pt modelId="{671913B2-2058-4785-B98F-581271118B72}" type="pres">
      <dgm:prSet presAssocID="{99CCB260-36FB-4022-949E-3C1ED38CA77A}" presName="img" presStyleLbl="fgImgPlace1" presStyleIdx="3" presStyleCnt="5" custScaleX="87821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7BAAF8EA-CFB6-421D-8DE4-54DA14E514EA}" type="pres">
      <dgm:prSet presAssocID="{99CCB260-36FB-4022-949E-3C1ED38CA77A}" presName="text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2B9D2C5-050F-4BD6-B5B0-050257DD43E7}" type="pres">
      <dgm:prSet presAssocID="{D3044F6F-247C-4096-8D0F-F7B47C2F06B7}" presName="spacer" presStyleCnt="0"/>
      <dgm:spPr/>
    </dgm:pt>
    <dgm:pt modelId="{4D5B1194-99D9-411B-9310-52621032FAAF}" type="pres">
      <dgm:prSet presAssocID="{CEBAFA68-35E2-4AFD-B6EE-7D2E2A81792B}" presName="comp" presStyleCnt="0"/>
      <dgm:spPr/>
    </dgm:pt>
    <dgm:pt modelId="{0B023556-0CCB-4760-83FD-4731986E3F16}" type="pres">
      <dgm:prSet presAssocID="{CEBAFA68-35E2-4AFD-B6EE-7D2E2A81792B}" presName="box" presStyleLbl="node1" presStyleIdx="4" presStyleCnt="5"/>
      <dgm:spPr/>
      <dgm:t>
        <a:bodyPr/>
        <a:lstStyle/>
        <a:p>
          <a:endParaRPr lang="en-US"/>
        </a:p>
      </dgm:t>
    </dgm:pt>
    <dgm:pt modelId="{1E34ABC6-7F6D-43FC-8A8C-0084ACE3E39B}" type="pres">
      <dgm:prSet presAssocID="{CEBAFA68-35E2-4AFD-B6EE-7D2E2A81792B}" presName="img" presStyleLbl="fgImgPlace1" presStyleIdx="4" presStyleCnt="5" custScaleX="87503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4000" r="-14000"/>
          </a:stretch>
        </a:blipFill>
      </dgm:spPr>
      <dgm:t>
        <a:bodyPr/>
        <a:lstStyle/>
        <a:p>
          <a:endParaRPr lang="en-US"/>
        </a:p>
      </dgm:t>
    </dgm:pt>
    <dgm:pt modelId="{4A000F13-3182-4B1E-AF9B-7D2E8CB2D1EC}" type="pres">
      <dgm:prSet presAssocID="{CEBAFA68-35E2-4AFD-B6EE-7D2E2A81792B}" presName="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155A6A1-BF0E-4AF0-B308-BF77EE876DDD}" srcId="{DDFA9BB6-3794-423E-B0C3-49B5FD2965DC}" destId="{75685577-DA9A-41E4-B135-2EE04478D607}" srcOrd="0" destOrd="0" parTransId="{047B7730-27B2-4A49-B7CC-B562FFF2AF39}" sibTransId="{07BED2F9-FDB9-4524-B868-94AD1B57DA4A}"/>
    <dgm:cxn modelId="{4AD9320F-538A-434B-8C50-0518EFE73B35}" type="presOf" srcId="{F284847D-3A36-4AFA-9A7F-56D089093A76}" destId="{9CD37D22-6FDF-46FD-8CFB-A5C0922A9A8C}" srcOrd="0" destOrd="0" presId="urn:microsoft.com/office/officeart/2005/8/layout/vList4"/>
    <dgm:cxn modelId="{9B73C8B2-D1AF-4E51-907E-278D15512F09}" type="presOf" srcId="{CEBAFA68-35E2-4AFD-B6EE-7D2E2A81792B}" destId="{0B023556-0CCB-4760-83FD-4731986E3F16}" srcOrd="0" destOrd="0" presId="urn:microsoft.com/office/officeart/2005/8/layout/vList4"/>
    <dgm:cxn modelId="{E8205658-31B2-4C93-83BF-2A52CC7F0E11}" srcId="{DDFA9BB6-3794-423E-B0C3-49B5FD2965DC}" destId="{965275FC-5042-4640-BA7A-38605C291FC9}" srcOrd="1" destOrd="0" parTransId="{D6EECCB1-8D62-4CEA-9625-2B7D6D822DC5}" sibTransId="{D0C18463-8058-43AA-A0D5-AEEE567F77F1}"/>
    <dgm:cxn modelId="{721DB81E-905F-4BCA-AA9A-7C40266A6083}" type="presOf" srcId="{965275FC-5042-4640-BA7A-38605C291FC9}" destId="{A06829F6-EDED-431C-9081-1A41B2D123FD}" srcOrd="0" destOrd="0" presId="urn:microsoft.com/office/officeart/2005/8/layout/vList4"/>
    <dgm:cxn modelId="{957F5F75-93AE-446B-9EBE-9D5FD1B9F4F3}" type="presOf" srcId="{99CCB260-36FB-4022-949E-3C1ED38CA77A}" destId="{7BAAF8EA-CFB6-421D-8DE4-54DA14E514EA}" srcOrd="1" destOrd="0" presId="urn:microsoft.com/office/officeart/2005/8/layout/vList4"/>
    <dgm:cxn modelId="{EE119099-ABCA-41CE-8A99-CC0B694F8B6D}" type="presOf" srcId="{F284847D-3A36-4AFA-9A7F-56D089093A76}" destId="{6FDA6A2A-0554-4830-8843-88E4F2AAA613}" srcOrd="1" destOrd="0" presId="urn:microsoft.com/office/officeart/2005/8/layout/vList4"/>
    <dgm:cxn modelId="{F5CA61DC-D63B-4767-88B3-FED8870DF87E}" srcId="{DDFA9BB6-3794-423E-B0C3-49B5FD2965DC}" destId="{CEBAFA68-35E2-4AFD-B6EE-7D2E2A81792B}" srcOrd="4" destOrd="0" parTransId="{A7184E82-D3DE-4A6E-B8FD-EE4D8BD4D881}" sibTransId="{85AFEE02-FAA1-4BF0-9498-2D3CB9A4DF70}"/>
    <dgm:cxn modelId="{EBEACED5-741D-4580-A695-12F76F5F5E9A}" type="presOf" srcId="{75685577-DA9A-41E4-B135-2EE04478D607}" destId="{5EA3ACF7-946D-46E3-A788-511FD0C983E5}" srcOrd="0" destOrd="0" presId="urn:microsoft.com/office/officeart/2005/8/layout/vList4"/>
    <dgm:cxn modelId="{428B6346-07AC-42E6-B8A9-9F14CE35FA40}" type="presOf" srcId="{DDFA9BB6-3794-423E-B0C3-49B5FD2965DC}" destId="{4F0D0104-21A9-44B0-A0D0-82D7A6132EC7}" srcOrd="0" destOrd="0" presId="urn:microsoft.com/office/officeart/2005/8/layout/vList4"/>
    <dgm:cxn modelId="{9DCA5B3C-2769-4FEA-A304-5EDD362249CB}" srcId="{DDFA9BB6-3794-423E-B0C3-49B5FD2965DC}" destId="{F284847D-3A36-4AFA-9A7F-56D089093A76}" srcOrd="2" destOrd="0" parTransId="{20790359-E384-46D7-9B8B-293E52752609}" sibTransId="{1A818839-CADF-496A-AF8D-5F7B0952A2F0}"/>
    <dgm:cxn modelId="{CC61759B-EB4F-4451-AB07-A0C9BDFD9E86}" srcId="{DDFA9BB6-3794-423E-B0C3-49B5FD2965DC}" destId="{99CCB260-36FB-4022-949E-3C1ED38CA77A}" srcOrd="3" destOrd="0" parTransId="{EF071749-5FB1-47AA-9D3A-E66722685BDB}" sibTransId="{D3044F6F-247C-4096-8D0F-F7B47C2F06B7}"/>
    <dgm:cxn modelId="{151A2DA4-8FAB-466E-8BBF-AA815ABBA43C}" type="presOf" srcId="{CEBAFA68-35E2-4AFD-B6EE-7D2E2A81792B}" destId="{4A000F13-3182-4B1E-AF9B-7D2E8CB2D1EC}" srcOrd="1" destOrd="0" presId="urn:microsoft.com/office/officeart/2005/8/layout/vList4"/>
    <dgm:cxn modelId="{CF5BD544-4049-4801-9E57-8382D4D4B082}" type="presOf" srcId="{965275FC-5042-4640-BA7A-38605C291FC9}" destId="{46FEB15C-4C07-4903-90F9-76FAFDCDEE01}" srcOrd="1" destOrd="0" presId="urn:microsoft.com/office/officeart/2005/8/layout/vList4"/>
    <dgm:cxn modelId="{CFED4E27-1B4D-4ADF-9A32-5382262AD5D4}" type="presOf" srcId="{99CCB260-36FB-4022-949E-3C1ED38CA77A}" destId="{EE42D430-863C-4BCD-AF85-95B578219933}" srcOrd="0" destOrd="0" presId="urn:microsoft.com/office/officeart/2005/8/layout/vList4"/>
    <dgm:cxn modelId="{7DBC8C09-A1CE-41AC-94C8-FB11F7DA3151}" type="presOf" srcId="{75685577-DA9A-41E4-B135-2EE04478D607}" destId="{755539D7-DB8F-45B3-98F0-2D6827451BB6}" srcOrd="1" destOrd="0" presId="urn:microsoft.com/office/officeart/2005/8/layout/vList4"/>
    <dgm:cxn modelId="{01815E3E-0D6B-410D-B8EE-E04588833300}" type="presParOf" srcId="{4F0D0104-21A9-44B0-A0D0-82D7A6132EC7}" destId="{C7541ABF-E665-4CCD-BDEE-5D53877FA041}" srcOrd="0" destOrd="0" presId="urn:microsoft.com/office/officeart/2005/8/layout/vList4"/>
    <dgm:cxn modelId="{A3566B36-BCE9-4E79-81AA-008398C02331}" type="presParOf" srcId="{C7541ABF-E665-4CCD-BDEE-5D53877FA041}" destId="{5EA3ACF7-946D-46E3-A788-511FD0C983E5}" srcOrd="0" destOrd="0" presId="urn:microsoft.com/office/officeart/2005/8/layout/vList4"/>
    <dgm:cxn modelId="{F6BB0567-A23C-4EC2-B265-1A30262C4A70}" type="presParOf" srcId="{C7541ABF-E665-4CCD-BDEE-5D53877FA041}" destId="{98CE0440-0F66-4EAD-BD88-972784528CF5}" srcOrd="1" destOrd="0" presId="urn:microsoft.com/office/officeart/2005/8/layout/vList4"/>
    <dgm:cxn modelId="{56074669-FA04-4CA2-BD9A-2A6D5BA1B2C5}" type="presParOf" srcId="{C7541ABF-E665-4CCD-BDEE-5D53877FA041}" destId="{755539D7-DB8F-45B3-98F0-2D6827451BB6}" srcOrd="2" destOrd="0" presId="urn:microsoft.com/office/officeart/2005/8/layout/vList4"/>
    <dgm:cxn modelId="{ACE3B7EC-05FA-4621-9100-BB6834EAA4E8}" type="presParOf" srcId="{4F0D0104-21A9-44B0-A0D0-82D7A6132EC7}" destId="{6406AF61-095F-431C-8D67-FB574D63C4A7}" srcOrd="1" destOrd="0" presId="urn:microsoft.com/office/officeart/2005/8/layout/vList4"/>
    <dgm:cxn modelId="{5B424534-CB68-4454-BE78-5003B40A2502}" type="presParOf" srcId="{4F0D0104-21A9-44B0-A0D0-82D7A6132EC7}" destId="{40A4004B-22A4-4FD2-A5DD-650E8EFFEE3E}" srcOrd="2" destOrd="0" presId="urn:microsoft.com/office/officeart/2005/8/layout/vList4"/>
    <dgm:cxn modelId="{291B6ED3-1716-48F5-ABBC-48C07194DB98}" type="presParOf" srcId="{40A4004B-22A4-4FD2-A5DD-650E8EFFEE3E}" destId="{A06829F6-EDED-431C-9081-1A41B2D123FD}" srcOrd="0" destOrd="0" presId="urn:microsoft.com/office/officeart/2005/8/layout/vList4"/>
    <dgm:cxn modelId="{39F43C8E-3C68-459B-A398-D795D02786D9}" type="presParOf" srcId="{40A4004B-22A4-4FD2-A5DD-650E8EFFEE3E}" destId="{63295631-9879-4C4C-BF83-CD90CB075F5C}" srcOrd="1" destOrd="0" presId="urn:microsoft.com/office/officeart/2005/8/layout/vList4"/>
    <dgm:cxn modelId="{0BE10A93-8EA7-4089-AFFD-52D52DBDB527}" type="presParOf" srcId="{40A4004B-22A4-4FD2-A5DD-650E8EFFEE3E}" destId="{46FEB15C-4C07-4903-90F9-76FAFDCDEE01}" srcOrd="2" destOrd="0" presId="urn:microsoft.com/office/officeart/2005/8/layout/vList4"/>
    <dgm:cxn modelId="{8ACB6312-AB5A-4FC0-A18A-9AE866EFE119}" type="presParOf" srcId="{4F0D0104-21A9-44B0-A0D0-82D7A6132EC7}" destId="{4AB23174-B730-4B60-9C52-BD21A8874193}" srcOrd="3" destOrd="0" presId="urn:microsoft.com/office/officeart/2005/8/layout/vList4"/>
    <dgm:cxn modelId="{0642B5AF-AF13-4EC9-97B8-8AAE743B0C0E}" type="presParOf" srcId="{4F0D0104-21A9-44B0-A0D0-82D7A6132EC7}" destId="{43FBA999-C4F6-4CE2-91A4-3DD2445BADEB}" srcOrd="4" destOrd="0" presId="urn:microsoft.com/office/officeart/2005/8/layout/vList4"/>
    <dgm:cxn modelId="{B83C5A9C-3F21-4BD0-AABC-F5B011FD8AA4}" type="presParOf" srcId="{43FBA999-C4F6-4CE2-91A4-3DD2445BADEB}" destId="{9CD37D22-6FDF-46FD-8CFB-A5C0922A9A8C}" srcOrd="0" destOrd="0" presId="urn:microsoft.com/office/officeart/2005/8/layout/vList4"/>
    <dgm:cxn modelId="{BBDBAE91-C0A9-4B5C-994E-C3B7D4D270BD}" type="presParOf" srcId="{43FBA999-C4F6-4CE2-91A4-3DD2445BADEB}" destId="{E562E843-42BD-4E9E-98FE-C25DAF65F894}" srcOrd="1" destOrd="0" presId="urn:microsoft.com/office/officeart/2005/8/layout/vList4"/>
    <dgm:cxn modelId="{CA1029C8-F444-4555-8906-08C2EC45FCFF}" type="presParOf" srcId="{43FBA999-C4F6-4CE2-91A4-3DD2445BADEB}" destId="{6FDA6A2A-0554-4830-8843-88E4F2AAA613}" srcOrd="2" destOrd="0" presId="urn:microsoft.com/office/officeart/2005/8/layout/vList4"/>
    <dgm:cxn modelId="{5B0EB12E-F09B-4E5C-92CB-7BE740912B87}" type="presParOf" srcId="{4F0D0104-21A9-44B0-A0D0-82D7A6132EC7}" destId="{77621BF1-8A79-48D5-9598-046ECDC9F897}" srcOrd="5" destOrd="0" presId="urn:microsoft.com/office/officeart/2005/8/layout/vList4"/>
    <dgm:cxn modelId="{A0BE36D4-C402-4576-9CAB-FE674FEF1F25}" type="presParOf" srcId="{4F0D0104-21A9-44B0-A0D0-82D7A6132EC7}" destId="{4B408F25-D79D-47B8-917A-578F67DFBE18}" srcOrd="6" destOrd="0" presId="urn:microsoft.com/office/officeart/2005/8/layout/vList4"/>
    <dgm:cxn modelId="{D96817BE-0A5C-4C58-B5FE-8517A8B69B7C}" type="presParOf" srcId="{4B408F25-D79D-47B8-917A-578F67DFBE18}" destId="{EE42D430-863C-4BCD-AF85-95B578219933}" srcOrd="0" destOrd="0" presId="urn:microsoft.com/office/officeart/2005/8/layout/vList4"/>
    <dgm:cxn modelId="{A7BA4671-DBDF-4225-B8D6-70BC22ED5E80}" type="presParOf" srcId="{4B408F25-D79D-47B8-917A-578F67DFBE18}" destId="{671913B2-2058-4785-B98F-581271118B72}" srcOrd="1" destOrd="0" presId="urn:microsoft.com/office/officeart/2005/8/layout/vList4"/>
    <dgm:cxn modelId="{59B9747D-201B-488A-8F0D-1042889897BD}" type="presParOf" srcId="{4B408F25-D79D-47B8-917A-578F67DFBE18}" destId="{7BAAF8EA-CFB6-421D-8DE4-54DA14E514EA}" srcOrd="2" destOrd="0" presId="urn:microsoft.com/office/officeart/2005/8/layout/vList4"/>
    <dgm:cxn modelId="{844624B1-1CC9-4C60-8B92-62E4CDC84FD3}" type="presParOf" srcId="{4F0D0104-21A9-44B0-A0D0-82D7A6132EC7}" destId="{F2B9D2C5-050F-4BD6-B5B0-050257DD43E7}" srcOrd="7" destOrd="0" presId="urn:microsoft.com/office/officeart/2005/8/layout/vList4"/>
    <dgm:cxn modelId="{FA283148-FFBE-4F71-A78A-49F4C9733688}" type="presParOf" srcId="{4F0D0104-21A9-44B0-A0D0-82D7A6132EC7}" destId="{4D5B1194-99D9-411B-9310-52621032FAAF}" srcOrd="8" destOrd="0" presId="urn:microsoft.com/office/officeart/2005/8/layout/vList4"/>
    <dgm:cxn modelId="{782EFAB0-11AF-4C9A-B872-D66A3E2BFC59}" type="presParOf" srcId="{4D5B1194-99D9-411B-9310-52621032FAAF}" destId="{0B023556-0CCB-4760-83FD-4731986E3F16}" srcOrd="0" destOrd="0" presId="urn:microsoft.com/office/officeart/2005/8/layout/vList4"/>
    <dgm:cxn modelId="{AB099DB9-DBCC-465A-B861-DF19BC54BA1F}" type="presParOf" srcId="{4D5B1194-99D9-411B-9310-52621032FAAF}" destId="{1E34ABC6-7F6D-43FC-8A8C-0084ACE3E39B}" srcOrd="1" destOrd="0" presId="urn:microsoft.com/office/officeart/2005/8/layout/vList4"/>
    <dgm:cxn modelId="{4AB512AA-5A2F-422D-A533-B1418D90743B}" type="presParOf" srcId="{4D5B1194-99D9-411B-9310-52621032FAAF}" destId="{4A000F13-3182-4B1E-AF9B-7D2E8CB2D1EC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A3ACF7-946D-46E3-A788-511FD0C983E5}">
      <dsp:nvSpPr>
        <dsp:cNvPr id="0" name=""/>
        <dsp:cNvSpPr/>
      </dsp:nvSpPr>
      <dsp:spPr>
        <a:xfrm>
          <a:off x="0" y="26748"/>
          <a:ext cx="7363182" cy="10193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000" kern="1200" dirty="0" smtClean="0"/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2000" kern="1200" dirty="0" smtClean="0"/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PACE SYSTEMS:</a:t>
          </a:r>
          <a:endParaRPr lang="pt-BR" sz="1800" kern="1200" dirty="0" smtClean="0"/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kern="1200" dirty="0" smtClean="0"/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/>
        </a:p>
      </dsp:txBody>
      <dsp:txXfrm>
        <a:off x="1574575" y="26748"/>
        <a:ext cx="5788606" cy="1019386"/>
      </dsp:txXfrm>
    </dsp:sp>
    <dsp:sp modelId="{98CE0440-0F66-4EAD-BD88-972784528CF5}">
      <dsp:nvSpPr>
        <dsp:cNvPr id="0" name=""/>
        <dsp:cNvSpPr/>
      </dsp:nvSpPr>
      <dsp:spPr>
        <a:xfrm>
          <a:off x="193956" y="101938"/>
          <a:ext cx="1288601" cy="815509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6829F6-EDED-431C-9081-1A41B2D123FD}">
      <dsp:nvSpPr>
        <dsp:cNvPr id="0" name=""/>
        <dsp:cNvSpPr/>
      </dsp:nvSpPr>
      <dsp:spPr>
        <a:xfrm>
          <a:off x="0" y="1121325"/>
          <a:ext cx="7363182" cy="10193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800" kern="1200" dirty="0" smtClean="0"/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CIENTIFIC ENGINEERING:</a:t>
          </a:r>
          <a:endParaRPr lang="pt-BR" sz="1800" kern="1200" dirty="0" smtClean="0"/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/>
        </a:p>
      </dsp:txBody>
      <dsp:txXfrm>
        <a:off x="1574575" y="1121325"/>
        <a:ext cx="5788606" cy="1019386"/>
      </dsp:txXfrm>
    </dsp:sp>
    <dsp:sp modelId="{63295631-9879-4C4C-BF83-CD90CB075F5C}">
      <dsp:nvSpPr>
        <dsp:cNvPr id="0" name=""/>
        <dsp:cNvSpPr/>
      </dsp:nvSpPr>
      <dsp:spPr>
        <a:xfrm>
          <a:off x="182079" y="1223264"/>
          <a:ext cx="1312354" cy="815509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2000" r="-72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CD37D22-6FDF-46FD-8CFB-A5C0922A9A8C}">
      <dsp:nvSpPr>
        <dsp:cNvPr id="0" name=""/>
        <dsp:cNvSpPr/>
      </dsp:nvSpPr>
      <dsp:spPr>
        <a:xfrm>
          <a:off x="0" y="2242651"/>
          <a:ext cx="7363182" cy="10193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SENSOR SYSTEMS:</a:t>
          </a:r>
          <a:endParaRPr lang="pt-BR" sz="1800" kern="1200" dirty="0" smtClean="0"/>
        </a:p>
      </dsp:txBody>
      <dsp:txXfrm>
        <a:off x="1574575" y="2242651"/>
        <a:ext cx="5788606" cy="1019386"/>
      </dsp:txXfrm>
    </dsp:sp>
    <dsp:sp modelId="{E562E843-42BD-4E9E-98FE-C25DAF65F894}">
      <dsp:nvSpPr>
        <dsp:cNvPr id="0" name=""/>
        <dsp:cNvSpPr/>
      </dsp:nvSpPr>
      <dsp:spPr>
        <a:xfrm>
          <a:off x="193956" y="2344589"/>
          <a:ext cx="1288601" cy="815509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8000" r="-28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E42D430-863C-4BCD-AF85-95B578219933}">
      <dsp:nvSpPr>
        <dsp:cNvPr id="0" name=""/>
        <dsp:cNvSpPr/>
      </dsp:nvSpPr>
      <dsp:spPr>
        <a:xfrm>
          <a:off x="0" y="3363976"/>
          <a:ext cx="7363182" cy="10193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AUTOMATIC TARGET RECOGNITION:</a:t>
          </a:r>
          <a:endParaRPr lang="pt-BR" sz="1800" kern="1200" dirty="0" smtClean="0"/>
        </a:p>
      </dsp:txBody>
      <dsp:txXfrm>
        <a:off x="1574575" y="3363976"/>
        <a:ext cx="5788606" cy="1019386"/>
      </dsp:txXfrm>
    </dsp:sp>
    <dsp:sp modelId="{671913B2-2058-4785-B98F-581271118B72}">
      <dsp:nvSpPr>
        <dsp:cNvPr id="0" name=""/>
        <dsp:cNvSpPr/>
      </dsp:nvSpPr>
      <dsp:spPr>
        <a:xfrm>
          <a:off x="191614" y="3465915"/>
          <a:ext cx="1293284" cy="815509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023556-0CCB-4760-83FD-4731986E3F16}">
      <dsp:nvSpPr>
        <dsp:cNvPr id="0" name=""/>
        <dsp:cNvSpPr/>
      </dsp:nvSpPr>
      <dsp:spPr>
        <a:xfrm>
          <a:off x="0" y="4485302"/>
          <a:ext cx="7363182" cy="101938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800" kern="1200" dirty="0" smtClean="0"/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800" kern="1200" dirty="0" smtClean="0"/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kern="1200" dirty="0" smtClean="0"/>
            <a:t>ENERGY SYSTEMS:</a:t>
          </a:r>
          <a:endParaRPr lang="pt-BR" sz="1800" kern="1200" dirty="0" smtClean="0"/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800" kern="1200" dirty="0" smtClean="0"/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800" kern="1200" dirty="0"/>
        </a:p>
      </dsp:txBody>
      <dsp:txXfrm>
        <a:off x="1574575" y="4485302"/>
        <a:ext cx="5788606" cy="1019386"/>
      </dsp:txXfrm>
    </dsp:sp>
    <dsp:sp modelId="{1E34ABC6-7F6D-43FC-8A8C-0084ACE3E39B}">
      <dsp:nvSpPr>
        <dsp:cNvPr id="0" name=""/>
        <dsp:cNvSpPr/>
      </dsp:nvSpPr>
      <dsp:spPr>
        <a:xfrm>
          <a:off x="193956" y="4587241"/>
          <a:ext cx="1288601" cy="815509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4000" r="-1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1175"/>
          </a:xfrm>
          <a:prstGeom prst="rect">
            <a:avLst/>
          </a:prstGeom>
        </p:spPr>
        <p:txBody>
          <a:bodyPr vert="horz" lIns="94695" tIns="47348" rIns="94695" bIns="4734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4021295" y="0"/>
            <a:ext cx="3076363" cy="511175"/>
          </a:xfrm>
          <a:prstGeom prst="rect">
            <a:avLst/>
          </a:prstGeom>
        </p:spPr>
        <p:txBody>
          <a:bodyPr vert="horz" lIns="94695" tIns="47348" rIns="94695" bIns="47348" rtlCol="0"/>
          <a:lstStyle>
            <a:lvl1pPr algn="r">
              <a:defRPr sz="1200"/>
            </a:lvl1pPr>
          </a:lstStyle>
          <a:p>
            <a:fld id="{5CCD48F9-83B4-4B8F-84C8-D0EE43551F1B}" type="datetimeFigureOut">
              <a:rPr lang="en-US" smtClean="0"/>
              <a:pPr/>
              <a:t>11/10/2022</a:t>
            </a:fld>
            <a:endParaRPr lang="en-US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1" y="9710551"/>
            <a:ext cx="3076363" cy="511175"/>
          </a:xfrm>
          <a:prstGeom prst="rect">
            <a:avLst/>
          </a:prstGeom>
        </p:spPr>
        <p:txBody>
          <a:bodyPr vert="horz" lIns="94695" tIns="47348" rIns="94695" bIns="4734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4021295" y="9710551"/>
            <a:ext cx="3076363" cy="511175"/>
          </a:xfrm>
          <a:prstGeom prst="rect">
            <a:avLst/>
          </a:prstGeom>
        </p:spPr>
        <p:txBody>
          <a:bodyPr vert="horz" lIns="94695" tIns="47348" rIns="94695" bIns="47348" rtlCol="0" anchor="b"/>
          <a:lstStyle>
            <a:lvl1pPr algn="r">
              <a:defRPr sz="1200"/>
            </a:lvl1pPr>
          </a:lstStyle>
          <a:p>
            <a:fld id="{ACC59113-01B6-4D14-86D2-0ECB152AA83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0724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1175"/>
          </a:xfrm>
          <a:prstGeom prst="rect">
            <a:avLst/>
          </a:prstGeom>
        </p:spPr>
        <p:txBody>
          <a:bodyPr vert="horz" lIns="94695" tIns="47348" rIns="94695" bIns="4734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1175"/>
          </a:xfrm>
          <a:prstGeom prst="rect">
            <a:avLst/>
          </a:prstGeom>
        </p:spPr>
        <p:txBody>
          <a:bodyPr vert="horz" lIns="94695" tIns="47348" rIns="94695" bIns="47348" rtlCol="0"/>
          <a:lstStyle>
            <a:lvl1pPr algn="r">
              <a:defRPr sz="1200"/>
            </a:lvl1pPr>
          </a:lstStyle>
          <a:p>
            <a:fld id="{8BD578CD-2C36-44CD-B8A7-BFA5B7B6728B}" type="datetimeFigureOut">
              <a:rPr lang="en-US" smtClean="0"/>
              <a:pPr/>
              <a:t>11/10/2022</a:t>
            </a:fld>
            <a:endParaRPr lang="en-US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42875" y="766763"/>
            <a:ext cx="6813550" cy="38338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95" tIns="47348" rIns="94695" bIns="47348" rtlCol="0" anchor="ctr"/>
          <a:lstStyle/>
          <a:p>
            <a:endParaRPr lang="en-US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09931" y="4856163"/>
            <a:ext cx="5679440" cy="4600575"/>
          </a:xfrm>
          <a:prstGeom prst="rect">
            <a:avLst/>
          </a:prstGeom>
        </p:spPr>
        <p:txBody>
          <a:bodyPr vert="horz" lIns="94695" tIns="47348" rIns="94695" bIns="47348" rtlCol="0">
            <a:normAutofit/>
          </a:bodyPr>
          <a:lstStyle/>
          <a:p>
            <a:pPr lvl="0"/>
            <a:r>
              <a:rPr lang="en-US" dirty="0" smtClean="0"/>
              <a:t>Clique para </a:t>
            </a:r>
            <a:r>
              <a:rPr lang="en-US" dirty="0" err="1" smtClean="0"/>
              <a:t>editar</a:t>
            </a:r>
            <a:r>
              <a:rPr lang="en-US" dirty="0" smtClean="0"/>
              <a:t> </a:t>
            </a:r>
            <a:r>
              <a:rPr lang="en-US" dirty="0" err="1" smtClean="0"/>
              <a:t>os</a:t>
            </a:r>
            <a:r>
              <a:rPr lang="en-US" dirty="0" smtClean="0"/>
              <a:t> </a:t>
            </a:r>
            <a:r>
              <a:rPr lang="en-US" dirty="0" err="1" smtClean="0"/>
              <a:t>estilos</a:t>
            </a:r>
            <a:r>
              <a:rPr lang="en-US" dirty="0" smtClean="0"/>
              <a:t> do </a:t>
            </a:r>
            <a:r>
              <a:rPr lang="en-US" dirty="0" err="1" smtClean="0"/>
              <a:t>texto</a:t>
            </a:r>
            <a:r>
              <a:rPr lang="en-US" dirty="0" smtClean="0"/>
              <a:t> </a:t>
            </a:r>
            <a:r>
              <a:rPr lang="en-US" dirty="0" err="1" smtClean="0"/>
              <a:t>mestre</a:t>
            </a:r>
            <a:endParaRPr lang="en-US" dirty="0" smtClean="0"/>
          </a:p>
          <a:p>
            <a:pPr lvl="1"/>
            <a:r>
              <a:rPr lang="en-US" dirty="0" smtClean="0"/>
              <a:t>Segundo </a:t>
            </a:r>
            <a:r>
              <a:rPr lang="en-US" dirty="0" err="1" smtClean="0"/>
              <a:t>nível</a:t>
            </a:r>
            <a:endParaRPr lang="en-US" dirty="0" smtClean="0"/>
          </a:p>
          <a:p>
            <a:pPr lvl="2"/>
            <a:r>
              <a:rPr lang="en-US" dirty="0" err="1" smtClean="0"/>
              <a:t>Terceiro</a:t>
            </a:r>
            <a:r>
              <a:rPr lang="en-US" dirty="0" smtClean="0"/>
              <a:t> </a:t>
            </a:r>
            <a:r>
              <a:rPr lang="en-US" dirty="0" err="1" smtClean="0"/>
              <a:t>nível</a:t>
            </a:r>
            <a:endParaRPr lang="en-US" dirty="0" smtClean="0"/>
          </a:p>
          <a:p>
            <a:pPr lvl="3"/>
            <a:r>
              <a:rPr lang="en-US" dirty="0" smtClean="0"/>
              <a:t>Quarto </a:t>
            </a:r>
            <a:r>
              <a:rPr lang="en-US" dirty="0" err="1" smtClean="0"/>
              <a:t>nível</a:t>
            </a:r>
            <a:endParaRPr lang="en-US" dirty="0" smtClean="0"/>
          </a:p>
          <a:p>
            <a:pPr lvl="4"/>
            <a:r>
              <a:rPr lang="en-US" dirty="0" err="1" smtClean="0"/>
              <a:t>Quinto</a:t>
            </a:r>
            <a:r>
              <a:rPr lang="en-US" dirty="0" smtClean="0"/>
              <a:t> </a:t>
            </a:r>
            <a:r>
              <a:rPr lang="en-US" dirty="0" err="1" smtClean="0"/>
              <a:t>nível</a:t>
            </a:r>
            <a:endParaRPr lang="en-US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1" y="9710551"/>
            <a:ext cx="3076363" cy="511175"/>
          </a:xfrm>
          <a:prstGeom prst="rect">
            <a:avLst/>
          </a:prstGeom>
        </p:spPr>
        <p:txBody>
          <a:bodyPr vert="horz" lIns="94695" tIns="47348" rIns="94695" bIns="4734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1295" y="9710551"/>
            <a:ext cx="3076363" cy="511175"/>
          </a:xfrm>
          <a:prstGeom prst="rect">
            <a:avLst/>
          </a:prstGeom>
        </p:spPr>
        <p:txBody>
          <a:bodyPr vert="horz" lIns="94695" tIns="47348" rIns="94695" bIns="47348" rtlCol="0" anchor="b"/>
          <a:lstStyle>
            <a:lvl1pPr algn="r">
              <a:defRPr sz="1200"/>
            </a:lvl1pPr>
          </a:lstStyle>
          <a:p>
            <a:fld id="{6B1C7C98-15F9-412E-A9D1-9DA364FFA360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42874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2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411956"/>
            <a:ext cx="10515600" cy="504737"/>
          </a:xfrm>
          <a:prstGeom prst="rect">
            <a:avLst/>
          </a:prstGeom>
        </p:spPr>
        <p:txBody>
          <a:bodyPr anchor="b"/>
          <a:lstStyle>
            <a:lvl1pPr>
              <a:defRPr lang="pt-BR" b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marL="0" lvl="0"/>
            <a:r>
              <a:rPr lang="pt-BR" smtClean="0"/>
              <a:t>Clique para editar o título mestre</a:t>
            </a:r>
            <a:endParaRPr lang="pt-BR" dirty="0"/>
          </a:p>
        </p:txBody>
      </p:sp>
      <p:cxnSp>
        <p:nvCxnSpPr>
          <p:cNvPr id="5" name="Conector reto 4"/>
          <p:cNvCxnSpPr/>
          <p:nvPr userDrawn="1"/>
        </p:nvCxnSpPr>
        <p:spPr>
          <a:xfrm>
            <a:off x="838200" y="916693"/>
            <a:ext cx="105156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9099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-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7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/>
          <p:cNvSpPr txBox="1"/>
          <p:nvPr userDrawn="1"/>
        </p:nvSpPr>
        <p:spPr>
          <a:xfrm>
            <a:off x="838200" y="1351724"/>
            <a:ext cx="10515600" cy="1512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Esta apresentação pode conter material confidencial e de propriedade para uso exclusivo do destinatário e/ou pode estar sujeito a regulamentos de controle de exportação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Qualquer revisão ou distribuição por outros é estritamente proibida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BR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Se você não for o destinatário pretendido, por favor contate a Equatorial pelo telefone +55 (12) 2139-1100 ou pelo site https://www.equatorialsistemas.com.br/contato</a:t>
            </a:r>
          </a:p>
        </p:txBody>
      </p:sp>
      <p:sp>
        <p:nvSpPr>
          <p:cNvPr id="7" name="Título 1"/>
          <p:cNvSpPr txBox="1">
            <a:spLocks/>
          </p:cNvSpPr>
          <p:nvPr userDrawn="1"/>
        </p:nvSpPr>
        <p:spPr>
          <a:xfrm>
            <a:off x="838200" y="411956"/>
            <a:ext cx="10515600" cy="504737"/>
          </a:xfrm>
          <a:prstGeom prst="rect">
            <a:avLst/>
          </a:prstGeom>
        </p:spPr>
        <p:txBody>
          <a:bodyPr anchor="b"/>
          <a:lstStyle>
            <a:lvl1pPr lvl="0">
              <a:lnSpc>
                <a:spcPct val="90000"/>
              </a:lnSpc>
              <a:spcBef>
                <a:spcPct val="0"/>
              </a:spcBef>
              <a:buNone/>
              <a:defRPr lang="pt-BR" sz="2400" b="0" dirty="0" smtClean="0">
                <a:latin typeface="Calibri" panose="020F0502020204030204" pitchFamily="34" charset="0"/>
                <a:cs typeface="Andalus" panose="02020603050405020304" pitchFamily="18" charset="-78"/>
              </a:defRPr>
            </a:lvl1pPr>
          </a:lstStyle>
          <a:p>
            <a:pPr lvl="0"/>
            <a:r>
              <a:rPr lang="pt-BR" dirty="0" smtClean="0"/>
              <a:t>Aviso legal</a:t>
            </a:r>
            <a:endParaRPr lang="en-US" dirty="0"/>
          </a:p>
        </p:txBody>
      </p:sp>
      <p:cxnSp>
        <p:nvCxnSpPr>
          <p:cNvPr id="9" name="Conector reto 8"/>
          <p:cNvCxnSpPr/>
          <p:nvPr userDrawn="1"/>
        </p:nvCxnSpPr>
        <p:spPr>
          <a:xfrm>
            <a:off x="838200" y="916693"/>
            <a:ext cx="105156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m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5561" y="6607607"/>
            <a:ext cx="687650" cy="170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059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losing slide -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3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aixaDeTexto 3"/>
          <p:cNvSpPr txBox="1"/>
          <p:nvPr/>
        </p:nvSpPr>
        <p:spPr>
          <a:xfrm>
            <a:off x="1543051" y="5344712"/>
            <a:ext cx="910589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endParaRPr lang="en-US" sz="1600" kern="1200" dirty="0" smtClean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</a:endParaRPr>
          </a:p>
          <a:p>
            <a:pPr marL="0" indent="0" algn="ctr">
              <a:buNone/>
            </a:pPr>
            <a:r>
              <a:rPr lang="en-US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For more information visit</a:t>
            </a:r>
          </a:p>
          <a:p>
            <a:pPr marL="0" indent="0" algn="ctr">
              <a:buNone/>
            </a:pPr>
            <a:r>
              <a:rPr lang="en-US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rPr>
              <a:t>www.equatorialsistemas.com.br</a:t>
            </a:r>
          </a:p>
        </p:txBody>
      </p:sp>
      <p:pic>
        <p:nvPicPr>
          <p:cNvPr id="5" name="Imagem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675" y="512045"/>
            <a:ext cx="2914650" cy="1221192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745" y="2774927"/>
            <a:ext cx="3174508" cy="1129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32487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losing slide - 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5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aixaDeTexto 9"/>
          <p:cNvSpPr txBox="1"/>
          <p:nvPr/>
        </p:nvSpPr>
        <p:spPr>
          <a:xfrm>
            <a:off x="1543051" y="5344712"/>
            <a:ext cx="9105899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endParaRPr lang="pt-BR" sz="1600" kern="1200" dirty="0" smtClean="0">
              <a:solidFill>
                <a:schemeClr val="tx1"/>
              </a:solidFill>
              <a:latin typeface="Calibri" panose="020F0502020204030204" pitchFamily="34" charset="0"/>
              <a:ea typeface="+mn-ea"/>
              <a:cs typeface="+mn-cs"/>
            </a:endParaRPr>
          </a:p>
          <a:p>
            <a:pPr marL="0" indent="0" algn="ctr">
              <a:buNone/>
            </a:pPr>
            <a:r>
              <a:rPr lang="pt-BR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Para mais informações </a:t>
            </a:r>
            <a:r>
              <a:rPr lang="pt-BR" sz="1800" kern="1200" noProof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rPr>
              <a:t>visite</a:t>
            </a:r>
          </a:p>
          <a:p>
            <a:pPr marL="0" indent="0" algn="ctr">
              <a:buNone/>
            </a:pPr>
            <a:r>
              <a:rPr lang="pt-BR" sz="1800" b="1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+mn-cs"/>
              </a:rPr>
              <a:t>www.equatorialsistemas.com.br</a:t>
            </a:r>
            <a:endParaRPr lang="pt-BR" sz="1800" kern="1200" dirty="0" smtClean="0">
              <a:solidFill>
                <a:schemeClr val="accent1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5" name="Imagem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675" y="512045"/>
            <a:ext cx="2914650" cy="1221192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745" y="2774927"/>
            <a:ext cx="3174508" cy="1129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63722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2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Conector reto 9"/>
          <p:cNvCxnSpPr/>
          <p:nvPr userDrawn="1"/>
        </p:nvCxnSpPr>
        <p:spPr>
          <a:xfrm>
            <a:off x="838200" y="720000"/>
            <a:ext cx="10515600" cy="0"/>
          </a:xfrm>
          <a:prstGeom prst="line">
            <a:avLst/>
          </a:prstGeom>
          <a:ln w="25400">
            <a:solidFill>
              <a:srgbClr val="BE326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ço Reservado para Texto 2"/>
          <p:cNvSpPr>
            <a:spLocks noGrp="1"/>
          </p:cNvSpPr>
          <p:nvPr>
            <p:ph idx="1"/>
          </p:nvPr>
        </p:nvSpPr>
        <p:spPr>
          <a:xfrm>
            <a:off x="838200" y="828001"/>
            <a:ext cx="10515600" cy="5450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000">
                <a:solidFill>
                  <a:srgbClr val="002060"/>
                </a:solidFill>
                <a:latin typeface="+mj-lt"/>
                <a:cs typeface="Arial" panose="020B0604020202020204" pitchFamily="34" charset="0"/>
              </a:defRPr>
            </a:lvl1pPr>
            <a:lvl2pPr marL="54000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5777A"/>
              </a:buClr>
              <a:buFont typeface="Wingdings" panose="05000000000000000000" pitchFamily="2" charset="2"/>
              <a:buChar char="Q"/>
              <a:defRPr sz="1800">
                <a:solidFill>
                  <a:srgbClr val="002060"/>
                </a:solidFill>
                <a:latin typeface="+mj-lt"/>
                <a:cs typeface="Arial" panose="020B0604020202020204" pitchFamily="34" charset="0"/>
              </a:defRPr>
            </a:lvl2pPr>
            <a:lvl3pPr marL="72000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5777A"/>
              </a:buClr>
              <a:buFont typeface="Wingdings" panose="05000000000000000000" pitchFamily="2" charset="2"/>
              <a:buChar char="Ø"/>
              <a:defRPr sz="1800">
                <a:solidFill>
                  <a:srgbClr val="002060"/>
                </a:solidFill>
                <a:latin typeface="+mj-lt"/>
                <a:cs typeface="Arial" panose="020B0604020202020204" pitchFamily="34" charset="0"/>
              </a:defRPr>
            </a:lvl3pPr>
            <a:lvl4pPr marL="90000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5777A"/>
              </a:buClr>
              <a:buFont typeface="Wingdings" panose="05000000000000000000" pitchFamily="2" charset="2"/>
              <a:buChar char="v"/>
              <a:defRPr sz="1600">
                <a:solidFill>
                  <a:srgbClr val="002060"/>
                </a:solidFill>
                <a:latin typeface="+mj-lt"/>
                <a:cs typeface="Arial" panose="020B0604020202020204" pitchFamily="34" charset="0"/>
              </a:defRPr>
            </a:lvl4pPr>
            <a:lvl5pPr marL="108000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5777A"/>
              </a:buClr>
              <a:buFont typeface="Wingdings" panose="05000000000000000000" pitchFamily="2" charset="2"/>
              <a:buChar char="§"/>
              <a:defRPr sz="1600">
                <a:solidFill>
                  <a:srgbClr val="002060"/>
                </a:solidFill>
                <a:latin typeface="+mj-lt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 dirty="0"/>
              <a:t>Clique para </a:t>
            </a:r>
            <a:r>
              <a:rPr lang="en-US" noProof="0" dirty="0" err="1"/>
              <a:t>editar</a:t>
            </a:r>
            <a:r>
              <a:rPr lang="en-US" noProof="0" dirty="0"/>
              <a:t> </a:t>
            </a:r>
            <a:r>
              <a:rPr lang="en-US" noProof="0" dirty="0" err="1"/>
              <a:t>os</a:t>
            </a:r>
            <a:r>
              <a:rPr lang="en-US" noProof="0" dirty="0"/>
              <a:t> </a:t>
            </a:r>
            <a:r>
              <a:rPr lang="en-US" noProof="0" dirty="0" err="1"/>
              <a:t>estilos</a:t>
            </a:r>
            <a:r>
              <a:rPr lang="en-US" noProof="0" dirty="0"/>
              <a:t> do </a:t>
            </a:r>
            <a:r>
              <a:rPr lang="en-US" noProof="0" dirty="0" err="1"/>
              <a:t>texto</a:t>
            </a:r>
            <a:r>
              <a:rPr lang="en-US" noProof="0" dirty="0"/>
              <a:t> </a:t>
            </a:r>
            <a:r>
              <a:rPr lang="en-US" noProof="0" dirty="0" err="1"/>
              <a:t>mestre</a:t>
            </a:r>
            <a:endParaRPr lang="en-US" noProof="0" dirty="0"/>
          </a:p>
          <a:p>
            <a:pPr lvl="1"/>
            <a:r>
              <a:rPr lang="en-US" noProof="0" dirty="0"/>
              <a:t>Segundo </a:t>
            </a:r>
            <a:r>
              <a:rPr lang="en-US" noProof="0" dirty="0" err="1"/>
              <a:t>nível</a:t>
            </a:r>
            <a:endParaRPr lang="en-US" noProof="0" dirty="0"/>
          </a:p>
          <a:p>
            <a:pPr lvl="2"/>
            <a:r>
              <a:rPr lang="en-US" noProof="0" dirty="0" err="1"/>
              <a:t>Terceiro</a:t>
            </a:r>
            <a:r>
              <a:rPr lang="en-US" noProof="0" dirty="0"/>
              <a:t> nível</a:t>
            </a:r>
          </a:p>
          <a:p>
            <a:pPr lvl="3"/>
            <a:r>
              <a:rPr lang="en-US" noProof="0" dirty="0"/>
              <a:t>Quarto nível</a:t>
            </a:r>
          </a:p>
          <a:p>
            <a:pPr lvl="4"/>
            <a:r>
              <a:rPr lang="en-US" noProof="0" dirty="0"/>
              <a:t>Quinto nível</a:t>
            </a:r>
          </a:p>
        </p:txBody>
      </p:sp>
      <p:sp>
        <p:nvSpPr>
          <p:cNvPr id="1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98634"/>
            <a:ext cx="10515600" cy="540000"/>
          </a:xfrm>
          <a:prstGeom prst="rect">
            <a:avLst/>
          </a:prstGeom>
          <a:noFill/>
          <a:ln w="34925" cap="rnd" cmpd="sng" algn="ctr">
            <a:noFill/>
            <a:prstDash val="solid"/>
            <a:miter lim="800000"/>
          </a:ln>
          <a:effectLst/>
        </p:spPr>
        <p:txBody>
          <a:bodyPr vert="horz" lIns="72000" tIns="72000" rIns="72000" bIns="36000" rtlCol="0" anchor="b" anchorCtr="0">
            <a:noAutofit/>
          </a:bodyPr>
          <a:lstStyle>
            <a:lvl1pPr>
              <a:defRPr lang="en-US" sz="2800" b="1" noProof="0" dirty="0">
                <a:solidFill>
                  <a:srgbClr val="002060"/>
                </a:solidFill>
              </a:defRPr>
            </a:lvl1pPr>
          </a:lstStyle>
          <a:p>
            <a:pPr marL="0" lvl="0" indent="0">
              <a:buFont typeface="Arial" panose="020B0604020202020204" pitchFamily="34" charset="0"/>
            </a:pPr>
            <a:r>
              <a:rPr lang="en-US" noProof="0" dirty="0"/>
              <a:t>Clique para </a:t>
            </a:r>
            <a:r>
              <a:rPr lang="en-US" noProof="0" dirty="0" err="1"/>
              <a:t>editar</a:t>
            </a:r>
            <a:r>
              <a:rPr lang="en-US" noProof="0" dirty="0"/>
              <a:t> o </a:t>
            </a:r>
            <a:r>
              <a:rPr lang="en-US" noProof="0" dirty="0" err="1"/>
              <a:t>estilo</a:t>
            </a:r>
            <a:r>
              <a:rPr lang="en-US" noProof="0" dirty="0"/>
              <a:t> do </a:t>
            </a:r>
            <a:r>
              <a:rPr lang="en-US" noProof="0" dirty="0" err="1"/>
              <a:t>título</a:t>
            </a:r>
            <a:r>
              <a:rPr lang="en-US" noProof="0" dirty="0"/>
              <a:t> </a:t>
            </a:r>
            <a:r>
              <a:rPr lang="en-US" noProof="0" dirty="0" err="1"/>
              <a:t>mestre</a:t>
            </a:r>
            <a:endParaRPr lang="en-US" noProof="0" dirty="0"/>
          </a:p>
        </p:txBody>
      </p:sp>
      <p:pic>
        <p:nvPicPr>
          <p:cNvPr id="13" name="Imagem 12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25561" y="6607607"/>
            <a:ext cx="687650" cy="170534"/>
          </a:xfrm>
          <a:prstGeom prst="rect">
            <a:avLst/>
          </a:prstGeom>
        </p:spPr>
      </p:pic>
      <p:sp>
        <p:nvSpPr>
          <p:cNvPr id="8" name="CaixaDeTexto 7"/>
          <p:cNvSpPr txBox="1"/>
          <p:nvPr userDrawn="1"/>
        </p:nvSpPr>
        <p:spPr>
          <a:xfrm>
            <a:off x="4716245" y="6639938"/>
            <a:ext cx="3190297" cy="21544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800" i="1" noProof="0">
                <a:solidFill>
                  <a:schemeClr val="tx1">
                    <a:lumMod val="50000"/>
                    <a:lumOff val="50000"/>
                  </a:schemeClr>
                </a:solidFill>
              </a:rPr>
              <a:t>Akaer proprietary information – Do not reproduce without authorization</a:t>
            </a:r>
          </a:p>
        </p:txBody>
      </p:sp>
    </p:spTree>
    <p:extLst>
      <p:ext uri="{BB962C8B-B14F-4D97-AF65-F5344CB8AC3E}">
        <p14:creationId xmlns:p14="http://schemas.microsoft.com/office/powerpoint/2010/main" val="15798865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43861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6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Espaço Reservado para Conteúdo 3"/>
          <p:cNvSpPr>
            <a:spLocks noGrp="1"/>
          </p:cNvSpPr>
          <p:nvPr>
            <p:ph sz="half" idx="10" hasCustomPrompt="1"/>
          </p:nvPr>
        </p:nvSpPr>
        <p:spPr>
          <a:xfrm>
            <a:off x="839788" y="1358427"/>
            <a:ext cx="10514011" cy="4758287"/>
          </a:xfrm>
          <a:prstGeom prst="rect">
            <a:avLst/>
          </a:prstGeom>
        </p:spPr>
        <p:txBody>
          <a:bodyPr tIns="144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Arial" panose="020B0604020202020204" pitchFamily="34" charset="0"/>
              <a:buNone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 b="1">
                <a:latin typeface="Calibri" panose="020F0502020204030204" pitchFamily="34" charset="0"/>
              </a:defRPr>
            </a:lvl1pPr>
            <a:lvl2pPr marL="266700" marR="0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>
                <a:latin typeface="Calibri" panose="020F0502020204030204" pitchFamily="34" charset="0"/>
              </a:defRPr>
            </a:lvl2pPr>
            <a:lvl3pPr marL="355600" marR="0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-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>
                <a:latin typeface="Calibri" panose="020F0502020204030204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Arial" panose="020B0604020202020204" pitchFamily="34" charset="0"/>
              <a:buNone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1</a:t>
            </a:r>
          </a:p>
          <a:p>
            <a:pPr marL="2667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2</a:t>
            </a:r>
          </a:p>
          <a:p>
            <a:pPr marL="355600" marR="0" lvl="2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-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3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411956"/>
            <a:ext cx="10515600" cy="504737"/>
          </a:xfrm>
          <a:prstGeom prst="rect">
            <a:avLst/>
          </a:prstGeom>
        </p:spPr>
        <p:txBody>
          <a:bodyPr anchor="b"/>
          <a:lstStyle>
            <a:lvl1pPr>
              <a:defRPr lang="pt-BR" b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marL="0" lvl="0"/>
            <a:r>
              <a:rPr lang="pt-BR" smtClean="0"/>
              <a:t>Clique para editar o título mestre</a:t>
            </a:r>
            <a:endParaRPr lang="pt-BR"/>
          </a:p>
        </p:txBody>
      </p:sp>
      <p:cxnSp>
        <p:nvCxnSpPr>
          <p:cNvPr id="5" name="Conector reto 4"/>
          <p:cNvCxnSpPr/>
          <p:nvPr userDrawn="1"/>
        </p:nvCxnSpPr>
        <p:spPr>
          <a:xfrm>
            <a:off x="838200" y="916693"/>
            <a:ext cx="105156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473" y="6234085"/>
            <a:ext cx="2072469" cy="469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30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8153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2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ço Reservado para Texto 2"/>
          <p:cNvSpPr>
            <a:spLocks noGrp="1"/>
          </p:cNvSpPr>
          <p:nvPr>
            <p:ph type="body" idx="14"/>
          </p:nvPr>
        </p:nvSpPr>
        <p:spPr>
          <a:xfrm>
            <a:off x="6543675" y="1351724"/>
            <a:ext cx="4810125" cy="3947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sx="99000" sy="99000" algn="ctr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pt-BR" sz="1800" b="1" dirty="0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marL="0" lvl="0" algn="ctr"/>
            <a:r>
              <a:rPr lang="pt-BR" smtClean="0"/>
              <a:t>Clique para editar o texto mestre</a:t>
            </a: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411956"/>
            <a:ext cx="10515600" cy="504737"/>
          </a:xfrm>
          <a:prstGeom prst="rect">
            <a:avLst/>
          </a:prstGeom>
        </p:spPr>
        <p:txBody>
          <a:bodyPr anchor="b"/>
          <a:lstStyle>
            <a:lvl1pPr>
              <a:defRPr lang="pt-BR" b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marL="0" lvl="0"/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351724"/>
            <a:ext cx="4810125" cy="3947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sx="99000" sy="99000" algn="ctr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pt-BR" sz="1800" b="1" dirty="0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marL="0" lvl="0" algn="ctr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 hasCustomPrompt="1"/>
          </p:nvPr>
        </p:nvSpPr>
        <p:spPr>
          <a:xfrm>
            <a:off x="839788" y="1750837"/>
            <a:ext cx="4810125" cy="3684588"/>
          </a:xfrm>
          <a:prstGeom prst="rect">
            <a:avLst/>
          </a:prstGeom>
        </p:spPr>
        <p:txBody>
          <a:bodyPr tIns="144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Arial" panose="020B0604020202020204" pitchFamily="34" charset="0"/>
              <a:buNone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 b="1">
                <a:latin typeface="Calibri" panose="020F0502020204030204" pitchFamily="34" charset="0"/>
              </a:defRPr>
            </a:lvl1pPr>
            <a:lvl2pPr marL="266700" marR="0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>
                <a:latin typeface="Calibri" panose="020F0502020204030204" pitchFamily="34" charset="0"/>
              </a:defRPr>
            </a:lvl2pPr>
            <a:lvl3pPr marL="355600" marR="0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-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>
                <a:latin typeface="Calibri" panose="020F0502020204030204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Arial" panose="020B0604020202020204" pitchFamily="34" charset="0"/>
              <a:buNone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1</a:t>
            </a:r>
          </a:p>
          <a:p>
            <a:pPr marL="2667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2</a:t>
            </a:r>
          </a:p>
          <a:p>
            <a:pPr marL="355600" marR="0" lvl="2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-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3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10" name="Espaço Reservado para Conteúdo 3"/>
          <p:cNvSpPr>
            <a:spLocks noGrp="1"/>
          </p:cNvSpPr>
          <p:nvPr>
            <p:ph sz="half" idx="15" hasCustomPrompt="1"/>
          </p:nvPr>
        </p:nvSpPr>
        <p:spPr>
          <a:xfrm>
            <a:off x="6543675" y="1750837"/>
            <a:ext cx="4810125" cy="3684588"/>
          </a:xfrm>
          <a:prstGeom prst="rect">
            <a:avLst/>
          </a:prstGeom>
        </p:spPr>
        <p:txBody>
          <a:bodyPr tIns="144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Arial" panose="020B0604020202020204" pitchFamily="34" charset="0"/>
              <a:buNone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 b="1">
                <a:latin typeface="Calibri" panose="020F0502020204030204" pitchFamily="34" charset="0"/>
              </a:defRPr>
            </a:lvl1pPr>
            <a:lvl2pPr marL="266700" marR="0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>
                <a:latin typeface="Calibri" panose="020F0502020204030204" pitchFamily="34" charset="0"/>
              </a:defRPr>
            </a:lvl2pPr>
            <a:lvl3pPr marL="355600" marR="0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-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>
                <a:latin typeface="Calibri" panose="020F0502020204030204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Arial" panose="020B0604020202020204" pitchFamily="34" charset="0"/>
              <a:buNone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1</a:t>
            </a:r>
          </a:p>
          <a:p>
            <a:pPr marL="2667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2</a:t>
            </a:r>
          </a:p>
          <a:p>
            <a:pPr marL="355600" marR="0" lvl="2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-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3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cxnSp>
        <p:nvCxnSpPr>
          <p:cNvPr id="8" name="Conector reto 7"/>
          <p:cNvCxnSpPr/>
          <p:nvPr userDrawn="1"/>
        </p:nvCxnSpPr>
        <p:spPr>
          <a:xfrm>
            <a:off x="838200" y="916693"/>
            <a:ext cx="105156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5561" y="6607607"/>
            <a:ext cx="687650" cy="170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044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63315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5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Espaço Reservado para Texto 2"/>
          <p:cNvSpPr>
            <a:spLocks noGrp="1"/>
          </p:cNvSpPr>
          <p:nvPr>
            <p:ph type="body" idx="14"/>
          </p:nvPr>
        </p:nvSpPr>
        <p:spPr>
          <a:xfrm>
            <a:off x="8300714" y="1351724"/>
            <a:ext cx="3053086" cy="3947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sx="99000" sy="99000" algn="ctr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pt-BR" sz="1800" b="1" dirty="0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marL="0" lvl="0" algn="ctr"/>
            <a:r>
              <a:rPr lang="pt-BR" smtClean="0"/>
              <a:t>Clique para editar o texto mestre</a:t>
            </a: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411956"/>
            <a:ext cx="10515600" cy="504737"/>
          </a:xfrm>
          <a:prstGeom prst="rect">
            <a:avLst/>
          </a:prstGeom>
        </p:spPr>
        <p:txBody>
          <a:bodyPr anchor="b"/>
          <a:lstStyle>
            <a:lvl1pPr>
              <a:defRPr lang="pt-BR" b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marL="0" lvl="0"/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9" y="1351724"/>
            <a:ext cx="3053086" cy="3947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sx="99000" sy="99000" algn="ctr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pt-BR" sz="1800" b="1" dirty="0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marL="0" lvl="0" algn="ctr"/>
            <a:r>
              <a:rPr lang="pt-BR" smtClean="0"/>
              <a:t>Clique para editar o texto mestre</a:t>
            </a:r>
          </a:p>
        </p:txBody>
      </p:sp>
      <p:sp>
        <p:nvSpPr>
          <p:cNvPr id="10" name="Espaço Reservado para Texto 2"/>
          <p:cNvSpPr>
            <a:spLocks noGrp="1"/>
          </p:cNvSpPr>
          <p:nvPr>
            <p:ph type="body" idx="16"/>
          </p:nvPr>
        </p:nvSpPr>
        <p:spPr>
          <a:xfrm>
            <a:off x="4570251" y="1351724"/>
            <a:ext cx="3053086" cy="39470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25400" dir="5400000" sx="99000" sy="99000" algn="ctr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pt-BR" sz="1800" b="1" dirty="0" smtClean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marL="0" lvl="0" algn="ctr"/>
            <a:r>
              <a:rPr lang="pt-BR" smtClean="0"/>
              <a:t>Clique para editar o texto mestre</a:t>
            </a:r>
          </a:p>
        </p:txBody>
      </p:sp>
      <p:sp>
        <p:nvSpPr>
          <p:cNvPr id="12" name="Espaço Reservado para Conteúdo 3"/>
          <p:cNvSpPr>
            <a:spLocks noGrp="1"/>
          </p:cNvSpPr>
          <p:nvPr>
            <p:ph sz="half" idx="18" hasCustomPrompt="1"/>
          </p:nvPr>
        </p:nvSpPr>
        <p:spPr>
          <a:xfrm>
            <a:off x="839789" y="1750837"/>
            <a:ext cx="3053086" cy="3684588"/>
          </a:xfrm>
          <a:prstGeom prst="rect">
            <a:avLst/>
          </a:prstGeom>
        </p:spPr>
        <p:txBody>
          <a:bodyPr tIns="144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Arial" panose="020B0604020202020204" pitchFamily="34" charset="0"/>
              <a:buNone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 b="1">
                <a:latin typeface="Calibri" panose="020F0502020204030204" pitchFamily="34" charset="0"/>
              </a:defRPr>
            </a:lvl1pPr>
            <a:lvl2pPr marL="266700" marR="0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>
                <a:latin typeface="Calibri" panose="020F0502020204030204" pitchFamily="34" charset="0"/>
              </a:defRPr>
            </a:lvl2pPr>
            <a:lvl3pPr marL="355600" marR="0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-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>
                <a:latin typeface="Calibri" panose="020F0502020204030204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Arial" panose="020B0604020202020204" pitchFamily="34" charset="0"/>
              <a:buNone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1</a:t>
            </a:r>
          </a:p>
          <a:p>
            <a:pPr marL="2667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2</a:t>
            </a:r>
          </a:p>
          <a:p>
            <a:pPr marL="355600" marR="0" lvl="2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-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3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13" name="Espaço Reservado para Conteúdo 3"/>
          <p:cNvSpPr>
            <a:spLocks noGrp="1"/>
          </p:cNvSpPr>
          <p:nvPr>
            <p:ph sz="half" idx="19" hasCustomPrompt="1"/>
          </p:nvPr>
        </p:nvSpPr>
        <p:spPr>
          <a:xfrm>
            <a:off x="4569457" y="1750837"/>
            <a:ext cx="3053086" cy="3684588"/>
          </a:xfrm>
          <a:prstGeom prst="rect">
            <a:avLst/>
          </a:prstGeom>
        </p:spPr>
        <p:txBody>
          <a:bodyPr tIns="144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Arial" panose="020B0604020202020204" pitchFamily="34" charset="0"/>
              <a:buNone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 b="1">
                <a:latin typeface="Calibri" panose="020F0502020204030204" pitchFamily="34" charset="0"/>
              </a:defRPr>
            </a:lvl1pPr>
            <a:lvl2pPr marL="266700" marR="0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>
                <a:latin typeface="Calibri" panose="020F0502020204030204" pitchFamily="34" charset="0"/>
              </a:defRPr>
            </a:lvl2pPr>
            <a:lvl3pPr marL="355600" marR="0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-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>
                <a:latin typeface="Calibri" panose="020F0502020204030204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Arial" panose="020B0604020202020204" pitchFamily="34" charset="0"/>
              <a:buNone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1</a:t>
            </a:r>
          </a:p>
          <a:p>
            <a:pPr marL="2667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2</a:t>
            </a:r>
          </a:p>
          <a:p>
            <a:pPr marL="355600" marR="0" lvl="2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-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3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sp>
        <p:nvSpPr>
          <p:cNvPr id="14" name="Espaço Reservado para Conteúdo 3"/>
          <p:cNvSpPr>
            <a:spLocks noGrp="1"/>
          </p:cNvSpPr>
          <p:nvPr>
            <p:ph sz="half" idx="20" hasCustomPrompt="1"/>
          </p:nvPr>
        </p:nvSpPr>
        <p:spPr>
          <a:xfrm>
            <a:off x="8299125" y="1750837"/>
            <a:ext cx="3053086" cy="3684588"/>
          </a:xfrm>
          <a:prstGeom prst="rect">
            <a:avLst/>
          </a:prstGeom>
        </p:spPr>
        <p:txBody>
          <a:bodyPr tIns="144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Arial" panose="020B0604020202020204" pitchFamily="34" charset="0"/>
              <a:buNone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 b="1">
                <a:latin typeface="Calibri" panose="020F0502020204030204" pitchFamily="34" charset="0"/>
              </a:defRPr>
            </a:lvl1pPr>
            <a:lvl2pPr marL="266700" marR="0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>
                <a:latin typeface="Calibri" panose="020F0502020204030204" pitchFamily="34" charset="0"/>
              </a:defRPr>
            </a:lvl2pPr>
            <a:lvl3pPr marL="355600" marR="0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-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 sz="1600">
                <a:latin typeface="Calibri" panose="020F0502020204030204" pitchFamily="34" charset="0"/>
              </a:defRPr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Arial" panose="020B0604020202020204" pitchFamily="34" charset="0"/>
              <a:buNone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1</a:t>
            </a:r>
          </a:p>
          <a:p>
            <a:pPr marL="266700" marR="0" lvl="1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•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2</a:t>
            </a:r>
          </a:p>
          <a:p>
            <a:pPr marL="355600" marR="0" lvl="2" indent="-1778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42929D"/>
              </a:buClr>
              <a:buSzPct val="100000"/>
              <a:buFont typeface="Calibri Light" panose="020F0302020204030204" pitchFamily="34" charset="0"/>
              <a:buChar char="-"/>
              <a:tabLst>
                <a:tab pos="317500" algn="l"/>
                <a:tab pos="635000" algn="l"/>
                <a:tab pos="952500" algn="l"/>
                <a:tab pos="1270000" algn="l"/>
                <a:tab pos="15875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Level 3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  <p:cxnSp>
        <p:nvCxnSpPr>
          <p:cNvPr id="11" name="Conector reto 10"/>
          <p:cNvCxnSpPr/>
          <p:nvPr userDrawn="1"/>
        </p:nvCxnSpPr>
        <p:spPr>
          <a:xfrm>
            <a:off x="838200" y="916693"/>
            <a:ext cx="105156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Imagem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5561" y="6607607"/>
            <a:ext cx="687650" cy="170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947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Espaço Reservado para Texto 10"/>
          <p:cNvSpPr>
            <a:spLocks noGrp="1"/>
          </p:cNvSpPr>
          <p:nvPr>
            <p:ph type="body" sz="quarter" idx="11"/>
          </p:nvPr>
        </p:nvSpPr>
        <p:spPr>
          <a:xfrm>
            <a:off x="7481458" y="2589373"/>
            <a:ext cx="4017642" cy="3064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>
              <a:buNone/>
              <a:defRPr lang="pt-BR" sz="200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>
              <a:defRPr lang="pt-BR" sz="2000" smtClean="0"/>
            </a:lvl2pPr>
            <a:lvl3pPr>
              <a:defRPr lang="pt-BR" sz="1800" smtClean="0"/>
            </a:lvl3pPr>
            <a:lvl4pPr>
              <a:defRPr lang="pt-BR" sz="1600" smtClean="0"/>
            </a:lvl4pPr>
            <a:lvl5pPr>
              <a:defRPr lang="pt-BR" sz="1600"/>
            </a:lvl5pPr>
          </a:lstStyle>
          <a:p>
            <a:pPr marL="0" lvl="0" indent="0"/>
            <a:endParaRPr lang="en-US" noProof="0" dirty="0"/>
          </a:p>
        </p:txBody>
      </p:sp>
      <p:sp>
        <p:nvSpPr>
          <p:cNvPr id="23" name="Retângulo 22"/>
          <p:cNvSpPr/>
          <p:nvPr/>
        </p:nvSpPr>
        <p:spPr>
          <a:xfrm>
            <a:off x="7267294" y="1514327"/>
            <a:ext cx="85807" cy="20615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Calibri" panose="020F0502020204030204" pitchFamily="34" charset="0"/>
            </a:endParaRPr>
          </a:p>
        </p:txBody>
      </p:sp>
      <p:sp>
        <p:nvSpPr>
          <p:cNvPr id="24" name="Espaço Reservado para Texto 8"/>
          <p:cNvSpPr>
            <a:spLocks noGrp="1"/>
          </p:cNvSpPr>
          <p:nvPr>
            <p:ph type="body" sz="quarter" idx="10"/>
          </p:nvPr>
        </p:nvSpPr>
        <p:spPr>
          <a:xfrm>
            <a:off x="7457708" y="1585577"/>
            <a:ext cx="4041392" cy="87209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pt-BR" sz="3200" b="1" smtClean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pt-BR" sz="1800" smtClean="0"/>
            </a:lvl2pPr>
            <a:lvl3pPr>
              <a:defRPr lang="pt-BR" sz="1800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marL="0" lvl="0">
              <a:spcBef>
                <a:spcPct val="0"/>
              </a:spcBef>
            </a:pPr>
            <a:endParaRPr lang="en-US" noProof="0" dirty="0" smtClean="0"/>
          </a:p>
        </p:txBody>
      </p:sp>
      <p:sp>
        <p:nvSpPr>
          <p:cNvPr id="3" name="Retângulo 2"/>
          <p:cNvSpPr/>
          <p:nvPr/>
        </p:nvSpPr>
        <p:spPr>
          <a:xfrm>
            <a:off x="8467" y="6502400"/>
            <a:ext cx="550333" cy="3471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alibri" panose="020F0502020204030204" pitchFamily="34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13" y="5598326"/>
            <a:ext cx="2191867" cy="918358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0612" y="5584042"/>
            <a:ext cx="2562863" cy="911591"/>
          </a:xfrm>
          <a:prstGeom prst="rect">
            <a:avLst/>
          </a:prstGeom>
        </p:spPr>
      </p:pic>
      <p:pic>
        <p:nvPicPr>
          <p:cNvPr id="61587" name="Picture 147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3980" y="908210"/>
            <a:ext cx="4105275" cy="3362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44025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7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Espaço Reservado para Texto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94688" y="2589373"/>
            <a:ext cx="2847975" cy="3064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>
              <a:buNone/>
              <a:defRPr lang="pt-BR" sz="200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>
              <a:defRPr lang="pt-BR" sz="2000" smtClean="0"/>
            </a:lvl2pPr>
            <a:lvl3pPr>
              <a:defRPr lang="pt-BR" sz="1800" smtClean="0"/>
            </a:lvl3pPr>
            <a:lvl4pPr>
              <a:defRPr lang="pt-BR" sz="1600" smtClean="0"/>
            </a:lvl4pPr>
            <a:lvl5pPr>
              <a:defRPr lang="pt-BR" sz="1600"/>
            </a:lvl5pPr>
          </a:lstStyle>
          <a:p>
            <a:pPr marL="0" lvl="0" indent="0"/>
            <a:r>
              <a:rPr lang="en-US" noProof="0" dirty="0" smtClean="0"/>
              <a:t>Date</a:t>
            </a:r>
            <a:endParaRPr lang="en-US" noProof="0" dirty="0"/>
          </a:p>
        </p:txBody>
      </p:sp>
      <p:sp>
        <p:nvSpPr>
          <p:cNvPr id="23" name="Retângulo 22"/>
          <p:cNvSpPr/>
          <p:nvPr/>
        </p:nvSpPr>
        <p:spPr>
          <a:xfrm>
            <a:off x="4999169" y="1644952"/>
            <a:ext cx="85807" cy="19034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Calibri" panose="020F0502020204030204" pitchFamily="34" charset="0"/>
            </a:endParaRPr>
          </a:p>
        </p:txBody>
      </p:sp>
      <p:sp>
        <p:nvSpPr>
          <p:cNvPr id="24" name="Espaço Reservado para Texto 8"/>
          <p:cNvSpPr>
            <a:spLocks noGrp="1"/>
          </p:cNvSpPr>
          <p:nvPr>
            <p:ph type="body" sz="quarter" idx="10" hasCustomPrompt="1"/>
          </p:nvPr>
        </p:nvSpPr>
        <p:spPr>
          <a:xfrm>
            <a:off x="5084976" y="1644952"/>
            <a:ext cx="6568499" cy="87209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pt-BR" sz="3200" b="1" smtClean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pt-BR" sz="1800" smtClean="0"/>
            </a:lvl2pPr>
            <a:lvl3pPr>
              <a:defRPr lang="pt-BR" sz="1800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marL="0" lvl="0">
              <a:spcBef>
                <a:spcPct val="0"/>
              </a:spcBef>
            </a:pPr>
            <a:r>
              <a:rPr lang="en-US" noProof="0" dirty="0" smtClean="0"/>
              <a:t>Title</a:t>
            </a:r>
          </a:p>
        </p:txBody>
      </p:sp>
      <p:sp>
        <p:nvSpPr>
          <p:cNvPr id="3" name="Retângulo 2"/>
          <p:cNvSpPr/>
          <p:nvPr/>
        </p:nvSpPr>
        <p:spPr>
          <a:xfrm>
            <a:off x="8467" y="6502400"/>
            <a:ext cx="550333" cy="3471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alibri" panose="020F0502020204030204" pitchFamily="34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13" y="5598326"/>
            <a:ext cx="2191867" cy="918358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0612" y="5584042"/>
            <a:ext cx="2562863" cy="911591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25" r="5633"/>
          <a:stretch/>
        </p:blipFill>
        <p:spPr>
          <a:xfrm>
            <a:off x="1042722" y="1644952"/>
            <a:ext cx="3913543" cy="1903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98413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9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Espaço Reservado para Texto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94688" y="2589373"/>
            <a:ext cx="2847975" cy="3064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>
              <a:buNone/>
              <a:defRPr lang="pt-BR" sz="200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>
              <a:defRPr lang="pt-BR" sz="2000" smtClean="0"/>
            </a:lvl2pPr>
            <a:lvl3pPr>
              <a:defRPr lang="pt-BR" sz="1800" smtClean="0"/>
            </a:lvl3pPr>
            <a:lvl4pPr>
              <a:defRPr lang="pt-BR" sz="1600" smtClean="0"/>
            </a:lvl4pPr>
            <a:lvl5pPr>
              <a:defRPr lang="pt-BR" sz="1600"/>
            </a:lvl5pPr>
          </a:lstStyle>
          <a:p>
            <a:pPr marL="0" lvl="0" indent="0"/>
            <a:r>
              <a:rPr lang="en-US" noProof="0" dirty="0" smtClean="0"/>
              <a:t>Date</a:t>
            </a:r>
            <a:endParaRPr lang="en-US" noProof="0" dirty="0"/>
          </a:p>
        </p:txBody>
      </p:sp>
      <p:sp>
        <p:nvSpPr>
          <p:cNvPr id="23" name="Retângulo 22"/>
          <p:cNvSpPr/>
          <p:nvPr/>
        </p:nvSpPr>
        <p:spPr>
          <a:xfrm>
            <a:off x="4999169" y="1644951"/>
            <a:ext cx="85807" cy="261784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Calibri" panose="020F0502020204030204" pitchFamily="34" charset="0"/>
            </a:endParaRPr>
          </a:p>
        </p:txBody>
      </p:sp>
      <p:sp>
        <p:nvSpPr>
          <p:cNvPr id="24" name="Espaço Reservado para Texto 8"/>
          <p:cNvSpPr>
            <a:spLocks noGrp="1"/>
          </p:cNvSpPr>
          <p:nvPr>
            <p:ph type="body" sz="quarter" idx="10" hasCustomPrompt="1"/>
          </p:nvPr>
        </p:nvSpPr>
        <p:spPr>
          <a:xfrm>
            <a:off x="5084976" y="1644952"/>
            <a:ext cx="6568499" cy="87209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pt-BR" sz="3200" b="1" smtClean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pt-BR" sz="1800" smtClean="0"/>
            </a:lvl2pPr>
            <a:lvl3pPr>
              <a:defRPr lang="pt-BR" sz="1800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marL="0" lvl="0">
              <a:spcBef>
                <a:spcPct val="0"/>
              </a:spcBef>
            </a:pPr>
            <a:r>
              <a:rPr lang="en-US" noProof="0" dirty="0" smtClean="0"/>
              <a:t>Title</a:t>
            </a:r>
          </a:p>
        </p:txBody>
      </p:sp>
      <p:sp>
        <p:nvSpPr>
          <p:cNvPr id="3" name="Retângulo 2"/>
          <p:cNvSpPr/>
          <p:nvPr/>
        </p:nvSpPr>
        <p:spPr>
          <a:xfrm>
            <a:off x="8467" y="6502400"/>
            <a:ext cx="550333" cy="3471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alibri" panose="020F0502020204030204" pitchFamily="34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13" y="5598326"/>
            <a:ext cx="2191867" cy="918358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0612" y="5584042"/>
            <a:ext cx="2562863" cy="911591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07" r="17495"/>
          <a:stretch/>
        </p:blipFill>
        <p:spPr>
          <a:xfrm>
            <a:off x="1034889" y="1644952"/>
            <a:ext cx="3913543" cy="2617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11035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1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ço Reservado para Texto 10"/>
          <p:cNvSpPr>
            <a:spLocks noGrp="1"/>
          </p:cNvSpPr>
          <p:nvPr>
            <p:ph type="body" sz="quarter" idx="11" hasCustomPrompt="1"/>
          </p:nvPr>
        </p:nvSpPr>
        <p:spPr>
          <a:xfrm>
            <a:off x="3689221" y="2282864"/>
            <a:ext cx="2847975" cy="3064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>
              <a:buNone/>
              <a:defRPr lang="pt-BR" sz="2000" smtClean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>
              <a:defRPr lang="pt-BR" sz="2000" smtClean="0"/>
            </a:lvl2pPr>
            <a:lvl3pPr>
              <a:defRPr lang="pt-BR" sz="1800" smtClean="0"/>
            </a:lvl3pPr>
            <a:lvl4pPr>
              <a:defRPr lang="pt-BR" sz="1600" smtClean="0"/>
            </a:lvl4pPr>
            <a:lvl5pPr>
              <a:defRPr lang="pt-BR" sz="1600"/>
            </a:lvl5pPr>
          </a:lstStyle>
          <a:p>
            <a:pPr marL="0" lvl="0" indent="0"/>
            <a:r>
              <a:rPr lang="en-US" noProof="0" dirty="0" smtClean="0"/>
              <a:t>Date</a:t>
            </a:r>
            <a:endParaRPr lang="en-US" noProof="0" dirty="0"/>
          </a:p>
        </p:txBody>
      </p:sp>
      <p:sp>
        <p:nvSpPr>
          <p:cNvPr id="7" name="Retângulo 6"/>
          <p:cNvSpPr/>
          <p:nvPr/>
        </p:nvSpPr>
        <p:spPr>
          <a:xfrm>
            <a:off x="3593702" y="1338443"/>
            <a:ext cx="85807" cy="125084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latin typeface="Calibri" panose="020F0502020204030204" pitchFamily="34" charset="0"/>
            </a:endParaRPr>
          </a:p>
        </p:txBody>
      </p:sp>
      <p:sp>
        <p:nvSpPr>
          <p:cNvPr id="9" name="Espaço Reservado para Texto 8"/>
          <p:cNvSpPr>
            <a:spLocks noGrp="1"/>
          </p:cNvSpPr>
          <p:nvPr>
            <p:ph type="body" sz="quarter" idx="10" hasCustomPrompt="1"/>
          </p:nvPr>
        </p:nvSpPr>
        <p:spPr>
          <a:xfrm>
            <a:off x="3679509" y="1338443"/>
            <a:ext cx="7211286" cy="87209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pt-BR" sz="3200" b="1" smtClean="0">
                <a:solidFill>
                  <a:schemeClr val="accent3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>
              <a:defRPr lang="pt-BR" sz="1800" smtClean="0"/>
            </a:lvl2pPr>
            <a:lvl3pPr>
              <a:defRPr lang="pt-BR" sz="1800" smtClean="0"/>
            </a:lvl3pPr>
            <a:lvl4pPr>
              <a:defRPr lang="pt-BR" smtClean="0"/>
            </a:lvl4pPr>
            <a:lvl5pPr>
              <a:defRPr lang="pt-BR"/>
            </a:lvl5pPr>
          </a:lstStyle>
          <a:p>
            <a:pPr marL="0" lvl="0">
              <a:spcBef>
                <a:spcPct val="0"/>
              </a:spcBef>
            </a:pPr>
            <a:r>
              <a:rPr lang="en-US" noProof="0" dirty="0" smtClean="0"/>
              <a:t>Title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8467" y="6502400"/>
            <a:ext cx="550333" cy="34713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latin typeface="Calibri" panose="020F0502020204030204" pitchFamily="34" charset="0"/>
            </a:endParaRPr>
          </a:p>
        </p:txBody>
      </p:sp>
      <p:pic>
        <p:nvPicPr>
          <p:cNvPr id="10" name="Imagem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0012" y="5598326"/>
            <a:ext cx="2191867" cy="918358"/>
          </a:xfrm>
          <a:prstGeom prst="rect">
            <a:avLst/>
          </a:prstGeom>
        </p:spPr>
      </p:pic>
      <p:pic>
        <p:nvPicPr>
          <p:cNvPr id="15" name="Imagem 1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016" y="1504688"/>
            <a:ext cx="2562863" cy="911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88575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- 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17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aixaDeTexto 2"/>
          <p:cNvSpPr txBox="1"/>
          <p:nvPr userDrawn="1"/>
        </p:nvSpPr>
        <p:spPr>
          <a:xfrm>
            <a:off x="838200" y="1351724"/>
            <a:ext cx="10515600" cy="1456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This presentation may contain confidential and proprietary material for the sole use of the intended recipient and/or may be subject to export control regulations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Any review or distribution by others is strictly prohibited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If you are not the intended recipient, please contact </a:t>
            </a:r>
            <a:r>
              <a:rPr kumimoji="0" lang="pt-BR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Equatorial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at +55 (12) 2139-1100 or https://www</a:t>
            </a:r>
            <a:r>
              <a:rPr kumimoji="0" lang="pt-BR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.equatorialsistemas.com.br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</a:rPr>
              <a:t>/en/contact</a:t>
            </a:r>
          </a:p>
        </p:txBody>
      </p:sp>
      <p:sp>
        <p:nvSpPr>
          <p:cNvPr id="7" name="Título 1"/>
          <p:cNvSpPr txBox="1">
            <a:spLocks/>
          </p:cNvSpPr>
          <p:nvPr userDrawn="1"/>
        </p:nvSpPr>
        <p:spPr>
          <a:xfrm>
            <a:off x="838200" y="411956"/>
            <a:ext cx="10515600" cy="504737"/>
          </a:xfrm>
          <a:prstGeom prst="rect">
            <a:avLst/>
          </a:prstGeom>
        </p:spPr>
        <p:txBody>
          <a:bodyPr anchor="b"/>
          <a:lstStyle>
            <a:lvl1pPr lvl="0">
              <a:lnSpc>
                <a:spcPct val="90000"/>
              </a:lnSpc>
              <a:spcBef>
                <a:spcPct val="0"/>
              </a:spcBef>
              <a:buNone/>
              <a:defRPr lang="pt-BR" sz="2400" b="0" dirty="0" smtClean="0">
                <a:latin typeface="Calibri" panose="020F0502020204030204" pitchFamily="34" charset="0"/>
                <a:cs typeface="Andalus" panose="02020603050405020304" pitchFamily="18" charset="-78"/>
              </a:defRPr>
            </a:lvl1pPr>
          </a:lstStyle>
          <a:p>
            <a:pPr lvl="0"/>
            <a:r>
              <a:rPr lang="en-US" dirty="0" smtClean="0"/>
              <a:t>Disclaimer</a:t>
            </a:r>
            <a:endParaRPr lang="en-US" dirty="0"/>
          </a:p>
        </p:txBody>
      </p:sp>
      <p:cxnSp>
        <p:nvCxnSpPr>
          <p:cNvPr id="9" name="Conector reto 8"/>
          <p:cNvCxnSpPr/>
          <p:nvPr userDrawn="1"/>
        </p:nvCxnSpPr>
        <p:spPr>
          <a:xfrm>
            <a:off x="838200" y="916693"/>
            <a:ext cx="10515600" cy="0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m 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0090" y="6234086"/>
            <a:ext cx="2072469" cy="469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763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452403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73" name="Slide do think-cell" r:id="rId17" imgW="270" imgH="270" progId="TCLayout.ActiveDocument.1">
                  <p:embed/>
                </p:oleObj>
              </mc:Choice>
              <mc:Fallback>
                <p:oleObj name="Slide do think-cell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spaço Reservado para Número de Slide 5"/>
          <p:cNvSpPr txBox="1">
            <a:spLocks/>
          </p:cNvSpPr>
          <p:nvPr userDrawn="1"/>
        </p:nvSpPr>
        <p:spPr>
          <a:xfrm>
            <a:off x="-8878" y="6497931"/>
            <a:ext cx="485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A10898-8D9A-4EE2-A7A9-8328077D11A9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871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00" r:id="rId2"/>
    <p:sldLayoutId id="2147483698" r:id="rId3"/>
    <p:sldLayoutId id="2147483706" r:id="rId4"/>
    <p:sldLayoutId id="2147483719" r:id="rId5"/>
    <p:sldLayoutId id="2147483723" r:id="rId6"/>
    <p:sldLayoutId id="2147483724" r:id="rId7"/>
    <p:sldLayoutId id="2147483720" r:id="rId8"/>
    <p:sldLayoutId id="2147483705" r:id="rId9"/>
    <p:sldLayoutId id="2147483712" r:id="rId10"/>
    <p:sldLayoutId id="2147483721" r:id="rId11"/>
    <p:sldLayoutId id="2147483722" r:id="rId12"/>
    <p:sldLayoutId id="2147483725" r:id="rId1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pt-BR" sz="2400" b="1" kern="1200" dirty="0" smtClean="0">
          <a:solidFill>
            <a:schemeClr val="accent3"/>
          </a:solidFill>
          <a:latin typeface="+mj-lt"/>
          <a:ea typeface="+mn-ea"/>
          <a:cs typeface="Andalus" panose="02020603050405020304" pitchFamily="18" charset="-78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Texto 9"/>
          <p:cNvSpPr>
            <a:spLocks noGrp="1"/>
          </p:cNvSpPr>
          <p:nvPr>
            <p:ph type="body" sz="quarter" idx="11"/>
          </p:nvPr>
        </p:nvSpPr>
        <p:spPr>
          <a:xfrm>
            <a:off x="7445938" y="3147513"/>
            <a:ext cx="2847975" cy="306427"/>
          </a:xfrm>
        </p:spPr>
        <p:txBody>
          <a:bodyPr/>
          <a:lstStyle/>
          <a:p>
            <a:r>
              <a:rPr lang="pt-BR" dirty="0" smtClean="0"/>
              <a:t>14/11/2022</a:t>
            </a:r>
            <a:endParaRPr lang="pt-BR" dirty="0"/>
          </a:p>
        </p:txBody>
      </p:sp>
      <p:sp>
        <p:nvSpPr>
          <p:cNvPr id="2" name="Espaço Reservado para Texto 1"/>
          <p:cNvSpPr>
            <a:spLocks noGrp="1"/>
          </p:cNvSpPr>
          <p:nvPr>
            <p:ph type="body" sz="quarter" idx="10"/>
          </p:nvPr>
        </p:nvSpPr>
        <p:spPr>
          <a:xfrm>
            <a:off x="7445938" y="1610436"/>
            <a:ext cx="4041392" cy="1256672"/>
          </a:xfrm>
        </p:spPr>
        <p:txBody>
          <a:bodyPr/>
          <a:lstStyle/>
          <a:p>
            <a:r>
              <a:rPr lang="en-US" dirty="0" smtClean="0"/>
              <a:t>MINIWORKSHOP</a:t>
            </a:r>
          </a:p>
          <a:p>
            <a:r>
              <a:rPr lang="en-US" dirty="0" smtClean="0"/>
              <a:t>UNICAMP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7754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382371"/>
            <a:ext cx="10515600" cy="504737"/>
          </a:xfrm>
        </p:spPr>
        <p:txBody>
          <a:bodyPr/>
          <a:lstStyle/>
          <a:p>
            <a:r>
              <a:rPr lang="pt-BR" b="1" dirty="0" smtClean="0">
                <a:solidFill>
                  <a:srgbClr val="75777A"/>
                </a:solidFill>
              </a:rPr>
              <a:t>DUNE PROJECT</a:t>
            </a:r>
            <a:endParaRPr lang="en-US" b="1" dirty="0">
              <a:solidFill>
                <a:srgbClr val="75777A"/>
              </a:solidFill>
            </a:endParaRPr>
          </a:p>
        </p:txBody>
      </p:sp>
      <p:grpSp>
        <p:nvGrpSpPr>
          <p:cNvPr id="28" name="Grupo 27"/>
          <p:cNvGrpSpPr/>
          <p:nvPr/>
        </p:nvGrpSpPr>
        <p:grpSpPr>
          <a:xfrm>
            <a:off x="1637733" y="1201004"/>
            <a:ext cx="8993875" cy="4967791"/>
            <a:chOff x="477671" y="996284"/>
            <a:chExt cx="8993875" cy="4967791"/>
          </a:xfrm>
        </p:grpSpPr>
        <p:sp>
          <p:nvSpPr>
            <p:cNvPr id="6" name="Retângulo de cantos arredondados 5"/>
            <p:cNvSpPr/>
            <p:nvPr/>
          </p:nvSpPr>
          <p:spPr>
            <a:xfrm>
              <a:off x="3643952" y="3472180"/>
              <a:ext cx="2169994" cy="1023582"/>
            </a:xfrm>
            <a:prstGeom prst="roundRect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400" dirty="0" smtClean="0"/>
                <a:t>UNICAMP (IFGW)</a:t>
              </a:r>
              <a:endParaRPr lang="pt-BR" sz="2400" dirty="0"/>
            </a:p>
          </p:txBody>
        </p:sp>
        <p:sp>
          <p:nvSpPr>
            <p:cNvPr id="7" name="Retângulo de cantos arredondados 6"/>
            <p:cNvSpPr/>
            <p:nvPr/>
          </p:nvSpPr>
          <p:spPr>
            <a:xfrm>
              <a:off x="2074459" y="5227096"/>
              <a:ext cx="1828800" cy="736979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 smtClean="0"/>
                <a:t>CONVÊNIO INTERNACIONAL</a:t>
              </a:r>
              <a:endParaRPr lang="pt-BR" dirty="0"/>
            </a:p>
          </p:txBody>
        </p:sp>
        <p:sp>
          <p:nvSpPr>
            <p:cNvPr id="8" name="Seta para a esquerda e para a direita 7"/>
            <p:cNvSpPr/>
            <p:nvPr/>
          </p:nvSpPr>
          <p:spPr>
            <a:xfrm>
              <a:off x="2347415" y="3794080"/>
              <a:ext cx="1296537" cy="395785"/>
            </a:xfrm>
            <a:prstGeom prst="leftRightArrow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Retângulo de cantos arredondados 8"/>
            <p:cNvSpPr/>
            <p:nvPr/>
          </p:nvSpPr>
          <p:spPr>
            <a:xfrm>
              <a:off x="3684896" y="996284"/>
              <a:ext cx="2074459" cy="1091821"/>
            </a:xfrm>
            <a:prstGeom prst="roundRect">
              <a:avLst/>
            </a:prstGeom>
            <a:solidFill>
              <a:srgbClr val="0070C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400" dirty="0" smtClean="0"/>
                <a:t>FAPESP</a:t>
              </a:r>
              <a:endParaRPr lang="pt-BR" sz="2400" dirty="0"/>
            </a:p>
          </p:txBody>
        </p:sp>
        <p:sp>
          <p:nvSpPr>
            <p:cNvPr id="10" name="Retângulo de cantos arredondados 9"/>
            <p:cNvSpPr/>
            <p:nvPr/>
          </p:nvSpPr>
          <p:spPr>
            <a:xfrm>
              <a:off x="477671" y="3431236"/>
              <a:ext cx="1883392" cy="1023582"/>
            </a:xfrm>
            <a:prstGeom prst="roundRect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400" dirty="0" smtClean="0"/>
                <a:t>FERMILAB</a:t>
              </a:r>
              <a:endParaRPr lang="pt-BR" sz="2400" dirty="0"/>
            </a:p>
          </p:txBody>
        </p:sp>
        <p:sp>
          <p:nvSpPr>
            <p:cNvPr id="11" name="Retângulo de cantos arredondados 10"/>
            <p:cNvSpPr/>
            <p:nvPr/>
          </p:nvSpPr>
          <p:spPr>
            <a:xfrm>
              <a:off x="7465325" y="3458532"/>
              <a:ext cx="2006221" cy="1023582"/>
            </a:xfrm>
            <a:prstGeom prst="roundRect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400" dirty="0" smtClean="0"/>
                <a:t>EQUATORIAL</a:t>
              </a:r>
              <a:endParaRPr lang="pt-BR" sz="2400" dirty="0"/>
            </a:p>
          </p:txBody>
        </p:sp>
        <p:sp>
          <p:nvSpPr>
            <p:cNvPr id="12" name="Seta para a esquerda e para a direita 11"/>
            <p:cNvSpPr/>
            <p:nvPr/>
          </p:nvSpPr>
          <p:spPr>
            <a:xfrm>
              <a:off x="5813946" y="3794081"/>
              <a:ext cx="1651379" cy="395785"/>
            </a:xfrm>
            <a:prstGeom prst="leftRightArrow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" name="Retângulo de cantos arredondados 12"/>
            <p:cNvSpPr/>
            <p:nvPr/>
          </p:nvSpPr>
          <p:spPr>
            <a:xfrm>
              <a:off x="5868536" y="5199800"/>
              <a:ext cx="1692322" cy="723331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400" dirty="0" smtClean="0"/>
                <a:t>FUNCAMP</a:t>
              </a:r>
              <a:endParaRPr lang="pt-BR" sz="2400" dirty="0"/>
            </a:p>
          </p:txBody>
        </p:sp>
        <p:sp>
          <p:nvSpPr>
            <p:cNvPr id="14" name="Retângulo de cantos arredondados 13"/>
            <p:cNvSpPr/>
            <p:nvPr/>
          </p:nvSpPr>
          <p:spPr>
            <a:xfrm>
              <a:off x="5936775" y="2448598"/>
              <a:ext cx="1501253" cy="633505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sz="2000" dirty="0" smtClean="0"/>
                <a:t>COMITÊ GESTOR</a:t>
              </a:r>
              <a:endParaRPr lang="pt-BR" sz="2000" dirty="0"/>
            </a:p>
          </p:txBody>
        </p:sp>
        <p:sp>
          <p:nvSpPr>
            <p:cNvPr id="15" name="Elipse 14"/>
            <p:cNvSpPr/>
            <p:nvPr/>
          </p:nvSpPr>
          <p:spPr>
            <a:xfrm>
              <a:off x="6421270" y="3722408"/>
              <a:ext cx="484496" cy="495830"/>
            </a:xfrm>
            <a:prstGeom prst="ellipse">
              <a:avLst/>
            </a:prstGeom>
            <a:solidFill>
              <a:srgbClr val="80808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" name="Elipse 15"/>
            <p:cNvSpPr/>
            <p:nvPr/>
          </p:nvSpPr>
          <p:spPr>
            <a:xfrm>
              <a:off x="2753435" y="3744057"/>
              <a:ext cx="484496" cy="495830"/>
            </a:xfrm>
            <a:prstGeom prst="ellipse">
              <a:avLst/>
            </a:prstGeom>
            <a:solidFill>
              <a:srgbClr val="80808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8" name="Seta dobrada para cima 17"/>
            <p:cNvSpPr/>
            <p:nvPr/>
          </p:nvSpPr>
          <p:spPr>
            <a:xfrm rot="10800000" flipH="1">
              <a:off x="5759355" y="1433014"/>
              <a:ext cx="1146411" cy="987211"/>
            </a:xfrm>
            <a:prstGeom prst="bentUpArrow">
              <a:avLst>
                <a:gd name="adj1" fmla="val 20853"/>
                <a:gd name="adj2" fmla="val 25000"/>
                <a:gd name="adj3" fmla="val 25000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" name="Seta para cima e para baixo 18"/>
            <p:cNvSpPr/>
            <p:nvPr/>
          </p:nvSpPr>
          <p:spPr>
            <a:xfrm>
              <a:off x="6469035" y="3082103"/>
              <a:ext cx="382137" cy="640305"/>
            </a:xfrm>
            <a:prstGeom prst="upDownArrow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" name="Seta para cima e para baixo 19"/>
            <p:cNvSpPr/>
            <p:nvPr/>
          </p:nvSpPr>
          <p:spPr>
            <a:xfrm>
              <a:off x="2772193" y="4248996"/>
              <a:ext cx="436731" cy="959913"/>
            </a:xfrm>
            <a:prstGeom prst="upDownArrow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cxnSp>
          <p:nvCxnSpPr>
            <p:cNvPr id="24" name="Conector angulado 23"/>
            <p:cNvCxnSpPr>
              <a:stCxn id="11" idx="0"/>
            </p:cNvCxnSpPr>
            <p:nvPr/>
          </p:nvCxnSpPr>
          <p:spPr>
            <a:xfrm rot="16200000" flipV="1">
              <a:off x="5998780" y="988875"/>
              <a:ext cx="2230233" cy="2709081"/>
            </a:xfrm>
            <a:prstGeom prst="bentConnector2">
              <a:avLst/>
            </a:prstGeom>
            <a:ln w="28575">
              <a:solidFill>
                <a:schemeClr val="bg1">
                  <a:lumMod val="50000"/>
                </a:schemeClr>
              </a:solidFill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de seta reta 25"/>
            <p:cNvCxnSpPr>
              <a:stCxn id="9" idx="2"/>
              <a:endCxn id="6" idx="0"/>
            </p:cNvCxnSpPr>
            <p:nvPr/>
          </p:nvCxnSpPr>
          <p:spPr>
            <a:xfrm>
              <a:off x="4722126" y="2088105"/>
              <a:ext cx="6823" cy="1384075"/>
            </a:xfrm>
            <a:prstGeom prst="straightConnector1">
              <a:avLst/>
            </a:prstGeom>
            <a:ln w="28575">
              <a:solidFill>
                <a:schemeClr val="bg1">
                  <a:lumMod val="50000"/>
                </a:schemeClr>
              </a:solidFill>
              <a:prstDash val="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Seta para cima e para baixo 26"/>
            <p:cNvSpPr/>
            <p:nvPr/>
          </p:nvSpPr>
          <p:spPr>
            <a:xfrm>
              <a:off x="6441737" y="4247891"/>
              <a:ext cx="436731" cy="959913"/>
            </a:xfrm>
            <a:prstGeom prst="upDownArrow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</p:spTree>
    <p:extLst>
      <p:ext uri="{BB962C8B-B14F-4D97-AF65-F5344CB8AC3E}">
        <p14:creationId xmlns:p14="http://schemas.microsoft.com/office/powerpoint/2010/main" val="3660333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3900" y="414337"/>
            <a:ext cx="10515600" cy="504737"/>
          </a:xfrm>
        </p:spPr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Título 1"/>
          <p:cNvSpPr txBox="1">
            <a:spLocks/>
          </p:cNvSpPr>
          <p:nvPr/>
        </p:nvSpPr>
        <p:spPr>
          <a:xfrm>
            <a:off x="838200" y="400084"/>
            <a:ext cx="10515600" cy="504737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4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ndalus" panose="02020603050405020304" pitchFamily="18" charset="-78"/>
              </a:defRPr>
            </a:lvl1pPr>
          </a:lstStyle>
          <a:p>
            <a:r>
              <a:rPr lang="pt-BR" b="1" dirty="0" smtClean="0">
                <a:solidFill>
                  <a:srgbClr val="75777A"/>
                </a:solidFill>
              </a:rPr>
              <a:t>PROJECT </a:t>
            </a:r>
            <a:r>
              <a:rPr lang="pt-BR" b="1" dirty="0" smtClean="0">
                <a:solidFill>
                  <a:srgbClr val="75777A"/>
                </a:solidFill>
              </a:rPr>
              <a:t>DUNE: </a:t>
            </a:r>
            <a:r>
              <a:rPr lang="pt-BR" b="1" dirty="0" smtClean="0">
                <a:solidFill>
                  <a:srgbClr val="75777A"/>
                </a:solidFill>
              </a:rPr>
              <a:t>CRYOGENIC ARGON PURIFICATION</a:t>
            </a:r>
            <a:endParaRPr lang="en-US" b="1" dirty="0">
              <a:solidFill>
                <a:srgbClr val="75777A"/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7212" y="1317592"/>
            <a:ext cx="4527107" cy="2614126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4157" y="2251882"/>
            <a:ext cx="7186841" cy="4138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115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3900" y="414337"/>
            <a:ext cx="10515600" cy="504737"/>
          </a:xfrm>
        </p:spPr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Título 1"/>
          <p:cNvSpPr txBox="1">
            <a:spLocks/>
          </p:cNvSpPr>
          <p:nvPr/>
        </p:nvSpPr>
        <p:spPr>
          <a:xfrm>
            <a:off x="838200" y="400084"/>
            <a:ext cx="10515600" cy="504737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pt-BR" sz="24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ndalus" panose="02020603050405020304" pitchFamily="18" charset="-78"/>
              </a:defRPr>
            </a:lvl1pPr>
          </a:lstStyle>
          <a:p>
            <a:r>
              <a:rPr lang="pt-BR" b="1" dirty="0" smtClean="0">
                <a:solidFill>
                  <a:srgbClr val="75777A"/>
                </a:solidFill>
              </a:rPr>
              <a:t>DUNE PROJECT: </a:t>
            </a:r>
            <a:r>
              <a:rPr lang="pt-BR" b="1" dirty="0" smtClean="0">
                <a:solidFill>
                  <a:srgbClr val="75777A"/>
                </a:solidFill>
              </a:rPr>
              <a:t>ARAPUCA</a:t>
            </a:r>
            <a:endParaRPr lang="en-US" b="1" dirty="0">
              <a:solidFill>
                <a:srgbClr val="75777A"/>
              </a:solidFill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1889" y="1091892"/>
            <a:ext cx="5417592" cy="3364761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5871" y="4456653"/>
            <a:ext cx="2322608" cy="2354755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10484" y="1337551"/>
            <a:ext cx="3462800" cy="4588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678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400084"/>
            <a:ext cx="10515600" cy="504737"/>
          </a:xfrm>
        </p:spPr>
        <p:txBody>
          <a:bodyPr anchor="b"/>
          <a:lstStyle/>
          <a:p>
            <a:r>
              <a:rPr lang="en-US" b="1" dirty="0">
                <a:solidFill>
                  <a:srgbClr val="75777A"/>
                </a:solidFill>
              </a:rPr>
              <a:t>DETECTOR 2 (FAR DETECTOR): 34 TON </a:t>
            </a:r>
            <a:r>
              <a:rPr lang="en-US" b="1" dirty="0" err="1">
                <a:solidFill>
                  <a:srgbClr val="75777A"/>
                </a:solidFill>
              </a:rPr>
              <a:t>LAr</a:t>
            </a:r>
            <a:endParaRPr lang="en-US" b="1" dirty="0">
              <a:solidFill>
                <a:srgbClr val="75777A"/>
              </a:solidFill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1924334" y="1144399"/>
            <a:ext cx="8502557" cy="5406525"/>
            <a:chOff x="2156345" y="1144400"/>
            <a:chExt cx="8270546" cy="5147220"/>
          </a:xfrm>
        </p:grpSpPr>
        <p:grpSp>
          <p:nvGrpSpPr>
            <p:cNvPr id="4" name="Grupo 3"/>
            <p:cNvGrpSpPr/>
            <p:nvPr/>
          </p:nvGrpSpPr>
          <p:grpSpPr>
            <a:xfrm>
              <a:off x="2156345" y="1144400"/>
              <a:ext cx="8270546" cy="5147220"/>
              <a:chOff x="2142699" y="1062513"/>
              <a:chExt cx="8270545" cy="5133975"/>
            </a:xfrm>
          </p:grpSpPr>
          <p:pic>
            <p:nvPicPr>
              <p:cNvPr id="5" name="Imagem 4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2142699" y="1062513"/>
                <a:ext cx="8270545" cy="5133975"/>
              </a:xfrm>
              <a:prstGeom prst="rect">
                <a:avLst/>
              </a:prstGeom>
            </p:spPr>
          </p:pic>
          <p:sp>
            <p:nvSpPr>
              <p:cNvPr id="3" name="Elipse 2"/>
              <p:cNvSpPr/>
              <p:nvPr/>
            </p:nvSpPr>
            <p:spPr>
              <a:xfrm>
                <a:off x="6086901" y="2129051"/>
                <a:ext cx="2866030" cy="1173707"/>
              </a:xfrm>
              <a:prstGeom prst="ellipse">
                <a:avLst/>
              </a:prstGeom>
              <a:noFill/>
              <a:ln w="19050">
                <a:solidFill>
                  <a:srgbClr val="FF000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/>
              </a:p>
            </p:txBody>
          </p:sp>
        </p:grpSp>
        <p:pic>
          <p:nvPicPr>
            <p:cNvPr id="6" name="Imagem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10995818" flipV="1">
              <a:off x="5166240" y="5138781"/>
              <a:ext cx="495089" cy="3410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52978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3900" y="414337"/>
            <a:ext cx="10515600" cy="504737"/>
          </a:xfrm>
        </p:spPr>
        <p:txBody>
          <a:bodyPr anchor="b"/>
          <a:lstStyle/>
          <a:p>
            <a:r>
              <a:rPr lang="en-US" dirty="0"/>
              <a:t> </a:t>
            </a:r>
            <a:endParaRPr lang="en-US" dirty="0"/>
          </a:p>
        </p:txBody>
      </p:sp>
      <p:sp>
        <p:nvSpPr>
          <p:cNvPr id="5" name="Título 1"/>
          <p:cNvSpPr txBox="1">
            <a:spLocks/>
          </p:cNvSpPr>
          <p:nvPr/>
        </p:nvSpPr>
        <p:spPr>
          <a:xfrm>
            <a:off x="838200" y="400084"/>
            <a:ext cx="10515600" cy="504737"/>
          </a:xfrm>
          <a:prstGeom prst="rect">
            <a:avLst/>
          </a:prstGeom>
        </p:spPr>
        <p:txBody>
          <a:bodyPr anchor="b"/>
          <a:lstStyle>
            <a:lvl1pPr>
              <a:lnSpc>
                <a:spcPct val="90000"/>
              </a:lnSpc>
              <a:spcBef>
                <a:spcPct val="0"/>
              </a:spcBef>
              <a:buNone/>
              <a:defRPr lang="pt-BR" sz="2400" b="1">
                <a:solidFill>
                  <a:srgbClr val="75777A"/>
                </a:solidFill>
                <a:latin typeface="Calibri" panose="020F0502020204030204" pitchFamily="34" charset="0"/>
                <a:cs typeface="Andalus" panose="02020603050405020304" pitchFamily="18" charset="-78"/>
              </a:defRPr>
            </a:lvl1pPr>
          </a:lstStyle>
          <a:p>
            <a:r>
              <a:rPr lang="en-US" dirty="0"/>
              <a:t>AKAER HEADQUARTERS</a:t>
            </a:r>
            <a:endParaRPr lang="en-US" dirty="0"/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440" y="1055933"/>
            <a:ext cx="11885638" cy="5631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940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66950" y="389056"/>
            <a:ext cx="10515600" cy="504737"/>
          </a:xfrm>
        </p:spPr>
        <p:txBody>
          <a:bodyPr anchor="b"/>
          <a:lstStyle/>
          <a:p>
            <a:r>
              <a:rPr lang="pt-BR" b="1" dirty="0">
                <a:solidFill>
                  <a:srgbClr val="75777A"/>
                </a:solidFill>
              </a:rPr>
              <a:t>AKAER GROUP  </a:t>
            </a:r>
            <a:endParaRPr lang="pt-BR" b="1" dirty="0">
              <a:solidFill>
                <a:srgbClr val="75777A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3914648" y="2545390"/>
            <a:ext cx="258849" cy="168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Retângulo 3"/>
          <p:cNvSpPr/>
          <p:nvPr/>
        </p:nvSpPr>
        <p:spPr>
          <a:xfrm>
            <a:off x="1203945" y="3998982"/>
            <a:ext cx="258849" cy="168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5" name="AutoShape 8"/>
          <p:cNvSpPr>
            <a:spLocks noChangeAspect="1" noChangeArrowheads="1" noTextEdit="1"/>
          </p:cNvSpPr>
          <p:nvPr/>
        </p:nvSpPr>
        <p:spPr bwMode="auto">
          <a:xfrm>
            <a:off x="6338510" y="1638607"/>
            <a:ext cx="5051425" cy="4444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6" name="Freeform 10"/>
          <p:cNvSpPr>
            <a:spLocks noEditPoints="1"/>
          </p:cNvSpPr>
          <p:nvPr/>
        </p:nvSpPr>
        <p:spPr bwMode="auto">
          <a:xfrm>
            <a:off x="7081460" y="2383590"/>
            <a:ext cx="358775" cy="4599"/>
          </a:xfrm>
          <a:custGeom>
            <a:avLst/>
            <a:gdLst>
              <a:gd name="T0" fmla="*/ 0 w 226"/>
              <a:gd name="T1" fmla="*/ 0 h 2"/>
              <a:gd name="T2" fmla="*/ 15 w 226"/>
              <a:gd name="T3" fmla="*/ 0 h 2"/>
              <a:gd name="T4" fmla="*/ 15 w 226"/>
              <a:gd name="T5" fmla="*/ 2 h 2"/>
              <a:gd name="T6" fmla="*/ 0 w 226"/>
              <a:gd name="T7" fmla="*/ 2 h 2"/>
              <a:gd name="T8" fmla="*/ 0 w 226"/>
              <a:gd name="T9" fmla="*/ 0 h 2"/>
              <a:gd name="T10" fmla="*/ 21 w 226"/>
              <a:gd name="T11" fmla="*/ 0 h 2"/>
              <a:gd name="T12" fmla="*/ 35 w 226"/>
              <a:gd name="T13" fmla="*/ 0 h 2"/>
              <a:gd name="T14" fmla="*/ 35 w 226"/>
              <a:gd name="T15" fmla="*/ 2 h 2"/>
              <a:gd name="T16" fmla="*/ 21 w 226"/>
              <a:gd name="T17" fmla="*/ 2 h 2"/>
              <a:gd name="T18" fmla="*/ 21 w 226"/>
              <a:gd name="T19" fmla="*/ 0 h 2"/>
              <a:gd name="T20" fmla="*/ 41 w 226"/>
              <a:gd name="T21" fmla="*/ 0 h 2"/>
              <a:gd name="T22" fmla="*/ 56 w 226"/>
              <a:gd name="T23" fmla="*/ 0 h 2"/>
              <a:gd name="T24" fmla="*/ 56 w 226"/>
              <a:gd name="T25" fmla="*/ 2 h 2"/>
              <a:gd name="T26" fmla="*/ 41 w 226"/>
              <a:gd name="T27" fmla="*/ 2 h 2"/>
              <a:gd name="T28" fmla="*/ 41 w 226"/>
              <a:gd name="T29" fmla="*/ 0 h 2"/>
              <a:gd name="T30" fmla="*/ 61 w 226"/>
              <a:gd name="T31" fmla="*/ 0 h 2"/>
              <a:gd name="T32" fmla="*/ 76 w 226"/>
              <a:gd name="T33" fmla="*/ 0 h 2"/>
              <a:gd name="T34" fmla="*/ 76 w 226"/>
              <a:gd name="T35" fmla="*/ 2 h 2"/>
              <a:gd name="T36" fmla="*/ 61 w 226"/>
              <a:gd name="T37" fmla="*/ 2 h 2"/>
              <a:gd name="T38" fmla="*/ 61 w 226"/>
              <a:gd name="T39" fmla="*/ 0 h 2"/>
              <a:gd name="T40" fmla="*/ 82 w 226"/>
              <a:gd name="T41" fmla="*/ 0 h 2"/>
              <a:gd name="T42" fmla="*/ 96 w 226"/>
              <a:gd name="T43" fmla="*/ 0 h 2"/>
              <a:gd name="T44" fmla="*/ 96 w 226"/>
              <a:gd name="T45" fmla="*/ 2 h 2"/>
              <a:gd name="T46" fmla="*/ 82 w 226"/>
              <a:gd name="T47" fmla="*/ 2 h 2"/>
              <a:gd name="T48" fmla="*/ 82 w 226"/>
              <a:gd name="T49" fmla="*/ 0 h 2"/>
              <a:gd name="T50" fmla="*/ 102 w 226"/>
              <a:gd name="T51" fmla="*/ 0 h 2"/>
              <a:gd name="T52" fmla="*/ 117 w 226"/>
              <a:gd name="T53" fmla="*/ 0 h 2"/>
              <a:gd name="T54" fmla="*/ 117 w 226"/>
              <a:gd name="T55" fmla="*/ 2 h 2"/>
              <a:gd name="T56" fmla="*/ 102 w 226"/>
              <a:gd name="T57" fmla="*/ 2 h 2"/>
              <a:gd name="T58" fmla="*/ 102 w 226"/>
              <a:gd name="T59" fmla="*/ 0 h 2"/>
              <a:gd name="T60" fmla="*/ 122 w 226"/>
              <a:gd name="T61" fmla="*/ 0 h 2"/>
              <a:gd name="T62" fmla="*/ 137 w 226"/>
              <a:gd name="T63" fmla="*/ 0 h 2"/>
              <a:gd name="T64" fmla="*/ 137 w 226"/>
              <a:gd name="T65" fmla="*/ 2 h 2"/>
              <a:gd name="T66" fmla="*/ 122 w 226"/>
              <a:gd name="T67" fmla="*/ 2 h 2"/>
              <a:gd name="T68" fmla="*/ 122 w 226"/>
              <a:gd name="T69" fmla="*/ 0 h 2"/>
              <a:gd name="T70" fmla="*/ 143 w 226"/>
              <a:gd name="T71" fmla="*/ 0 h 2"/>
              <a:gd name="T72" fmla="*/ 158 w 226"/>
              <a:gd name="T73" fmla="*/ 0 h 2"/>
              <a:gd name="T74" fmla="*/ 158 w 226"/>
              <a:gd name="T75" fmla="*/ 2 h 2"/>
              <a:gd name="T76" fmla="*/ 143 w 226"/>
              <a:gd name="T77" fmla="*/ 2 h 2"/>
              <a:gd name="T78" fmla="*/ 143 w 226"/>
              <a:gd name="T79" fmla="*/ 0 h 2"/>
              <a:gd name="T80" fmla="*/ 163 w 226"/>
              <a:gd name="T81" fmla="*/ 0 h 2"/>
              <a:gd name="T82" fmla="*/ 178 w 226"/>
              <a:gd name="T83" fmla="*/ 0 h 2"/>
              <a:gd name="T84" fmla="*/ 178 w 226"/>
              <a:gd name="T85" fmla="*/ 2 h 2"/>
              <a:gd name="T86" fmla="*/ 163 w 226"/>
              <a:gd name="T87" fmla="*/ 2 h 2"/>
              <a:gd name="T88" fmla="*/ 163 w 226"/>
              <a:gd name="T89" fmla="*/ 0 h 2"/>
              <a:gd name="T90" fmla="*/ 184 w 226"/>
              <a:gd name="T91" fmla="*/ 0 h 2"/>
              <a:gd name="T92" fmla="*/ 198 w 226"/>
              <a:gd name="T93" fmla="*/ 0 h 2"/>
              <a:gd name="T94" fmla="*/ 198 w 226"/>
              <a:gd name="T95" fmla="*/ 2 h 2"/>
              <a:gd name="T96" fmla="*/ 184 w 226"/>
              <a:gd name="T97" fmla="*/ 2 h 2"/>
              <a:gd name="T98" fmla="*/ 184 w 226"/>
              <a:gd name="T99" fmla="*/ 0 h 2"/>
              <a:gd name="T100" fmla="*/ 204 w 226"/>
              <a:gd name="T101" fmla="*/ 0 h 2"/>
              <a:gd name="T102" fmla="*/ 219 w 226"/>
              <a:gd name="T103" fmla="*/ 0 h 2"/>
              <a:gd name="T104" fmla="*/ 219 w 226"/>
              <a:gd name="T105" fmla="*/ 2 h 2"/>
              <a:gd name="T106" fmla="*/ 204 w 226"/>
              <a:gd name="T107" fmla="*/ 2 h 2"/>
              <a:gd name="T108" fmla="*/ 204 w 226"/>
              <a:gd name="T109" fmla="*/ 0 h 2"/>
              <a:gd name="T110" fmla="*/ 224 w 226"/>
              <a:gd name="T111" fmla="*/ 0 h 2"/>
              <a:gd name="T112" fmla="*/ 226 w 226"/>
              <a:gd name="T113" fmla="*/ 0 h 2"/>
              <a:gd name="T114" fmla="*/ 226 w 226"/>
              <a:gd name="T115" fmla="*/ 2 h 2"/>
              <a:gd name="T116" fmla="*/ 224 w 226"/>
              <a:gd name="T117" fmla="*/ 2 h 2"/>
              <a:gd name="T118" fmla="*/ 224 w 226"/>
              <a:gd name="T11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26" h="2">
                <a:moveTo>
                  <a:pt x="0" y="0"/>
                </a:moveTo>
                <a:lnTo>
                  <a:pt x="15" y="0"/>
                </a:lnTo>
                <a:lnTo>
                  <a:pt x="15" y="2"/>
                </a:lnTo>
                <a:lnTo>
                  <a:pt x="0" y="2"/>
                </a:lnTo>
                <a:lnTo>
                  <a:pt x="0" y="0"/>
                </a:lnTo>
                <a:close/>
                <a:moveTo>
                  <a:pt x="21" y="0"/>
                </a:moveTo>
                <a:lnTo>
                  <a:pt x="35" y="0"/>
                </a:lnTo>
                <a:lnTo>
                  <a:pt x="35" y="2"/>
                </a:lnTo>
                <a:lnTo>
                  <a:pt x="21" y="2"/>
                </a:lnTo>
                <a:lnTo>
                  <a:pt x="21" y="0"/>
                </a:lnTo>
                <a:close/>
                <a:moveTo>
                  <a:pt x="41" y="0"/>
                </a:moveTo>
                <a:lnTo>
                  <a:pt x="56" y="0"/>
                </a:lnTo>
                <a:lnTo>
                  <a:pt x="56" y="2"/>
                </a:lnTo>
                <a:lnTo>
                  <a:pt x="41" y="2"/>
                </a:lnTo>
                <a:lnTo>
                  <a:pt x="41" y="0"/>
                </a:lnTo>
                <a:close/>
                <a:moveTo>
                  <a:pt x="61" y="0"/>
                </a:moveTo>
                <a:lnTo>
                  <a:pt x="76" y="0"/>
                </a:lnTo>
                <a:lnTo>
                  <a:pt x="76" y="2"/>
                </a:lnTo>
                <a:lnTo>
                  <a:pt x="61" y="2"/>
                </a:lnTo>
                <a:lnTo>
                  <a:pt x="61" y="0"/>
                </a:lnTo>
                <a:close/>
                <a:moveTo>
                  <a:pt x="82" y="0"/>
                </a:moveTo>
                <a:lnTo>
                  <a:pt x="96" y="0"/>
                </a:lnTo>
                <a:lnTo>
                  <a:pt x="96" y="2"/>
                </a:lnTo>
                <a:lnTo>
                  <a:pt x="82" y="2"/>
                </a:lnTo>
                <a:lnTo>
                  <a:pt x="82" y="0"/>
                </a:lnTo>
                <a:close/>
                <a:moveTo>
                  <a:pt x="102" y="0"/>
                </a:moveTo>
                <a:lnTo>
                  <a:pt x="117" y="0"/>
                </a:lnTo>
                <a:lnTo>
                  <a:pt x="117" y="2"/>
                </a:lnTo>
                <a:lnTo>
                  <a:pt x="102" y="2"/>
                </a:lnTo>
                <a:lnTo>
                  <a:pt x="102" y="0"/>
                </a:lnTo>
                <a:close/>
                <a:moveTo>
                  <a:pt x="122" y="0"/>
                </a:moveTo>
                <a:lnTo>
                  <a:pt x="137" y="0"/>
                </a:lnTo>
                <a:lnTo>
                  <a:pt x="137" y="2"/>
                </a:lnTo>
                <a:lnTo>
                  <a:pt x="122" y="2"/>
                </a:lnTo>
                <a:lnTo>
                  <a:pt x="122" y="0"/>
                </a:lnTo>
                <a:close/>
                <a:moveTo>
                  <a:pt x="143" y="0"/>
                </a:moveTo>
                <a:lnTo>
                  <a:pt x="158" y="0"/>
                </a:lnTo>
                <a:lnTo>
                  <a:pt x="158" y="2"/>
                </a:lnTo>
                <a:lnTo>
                  <a:pt x="143" y="2"/>
                </a:lnTo>
                <a:lnTo>
                  <a:pt x="143" y="0"/>
                </a:lnTo>
                <a:close/>
                <a:moveTo>
                  <a:pt x="163" y="0"/>
                </a:moveTo>
                <a:lnTo>
                  <a:pt x="178" y="0"/>
                </a:lnTo>
                <a:lnTo>
                  <a:pt x="178" y="2"/>
                </a:lnTo>
                <a:lnTo>
                  <a:pt x="163" y="2"/>
                </a:lnTo>
                <a:lnTo>
                  <a:pt x="163" y="0"/>
                </a:lnTo>
                <a:close/>
                <a:moveTo>
                  <a:pt x="184" y="0"/>
                </a:moveTo>
                <a:lnTo>
                  <a:pt x="198" y="0"/>
                </a:lnTo>
                <a:lnTo>
                  <a:pt x="198" y="2"/>
                </a:lnTo>
                <a:lnTo>
                  <a:pt x="184" y="2"/>
                </a:lnTo>
                <a:lnTo>
                  <a:pt x="184" y="0"/>
                </a:lnTo>
                <a:close/>
                <a:moveTo>
                  <a:pt x="204" y="0"/>
                </a:moveTo>
                <a:lnTo>
                  <a:pt x="219" y="0"/>
                </a:lnTo>
                <a:lnTo>
                  <a:pt x="219" y="2"/>
                </a:lnTo>
                <a:lnTo>
                  <a:pt x="204" y="2"/>
                </a:lnTo>
                <a:lnTo>
                  <a:pt x="204" y="0"/>
                </a:lnTo>
                <a:close/>
                <a:moveTo>
                  <a:pt x="224" y="0"/>
                </a:moveTo>
                <a:lnTo>
                  <a:pt x="226" y="0"/>
                </a:lnTo>
                <a:lnTo>
                  <a:pt x="226" y="2"/>
                </a:lnTo>
                <a:lnTo>
                  <a:pt x="224" y="2"/>
                </a:lnTo>
                <a:lnTo>
                  <a:pt x="224" y="0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7" name="Freeform 11"/>
          <p:cNvSpPr>
            <a:spLocks noEditPoints="1"/>
          </p:cNvSpPr>
          <p:nvPr/>
        </p:nvSpPr>
        <p:spPr bwMode="auto">
          <a:xfrm>
            <a:off x="8689598" y="2891742"/>
            <a:ext cx="358775" cy="4599"/>
          </a:xfrm>
          <a:custGeom>
            <a:avLst/>
            <a:gdLst>
              <a:gd name="T0" fmla="*/ 0 w 226"/>
              <a:gd name="T1" fmla="*/ 0 h 2"/>
              <a:gd name="T2" fmla="*/ 15 w 226"/>
              <a:gd name="T3" fmla="*/ 0 h 2"/>
              <a:gd name="T4" fmla="*/ 15 w 226"/>
              <a:gd name="T5" fmla="*/ 2 h 2"/>
              <a:gd name="T6" fmla="*/ 0 w 226"/>
              <a:gd name="T7" fmla="*/ 2 h 2"/>
              <a:gd name="T8" fmla="*/ 0 w 226"/>
              <a:gd name="T9" fmla="*/ 0 h 2"/>
              <a:gd name="T10" fmla="*/ 21 w 226"/>
              <a:gd name="T11" fmla="*/ 0 h 2"/>
              <a:gd name="T12" fmla="*/ 35 w 226"/>
              <a:gd name="T13" fmla="*/ 0 h 2"/>
              <a:gd name="T14" fmla="*/ 35 w 226"/>
              <a:gd name="T15" fmla="*/ 2 h 2"/>
              <a:gd name="T16" fmla="*/ 21 w 226"/>
              <a:gd name="T17" fmla="*/ 2 h 2"/>
              <a:gd name="T18" fmla="*/ 21 w 226"/>
              <a:gd name="T19" fmla="*/ 0 h 2"/>
              <a:gd name="T20" fmla="*/ 41 w 226"/>
              <a:gd name="T21" fmla="*/ 0 h 2"/>
              <a:gd name="T22" fmla="*/ 56 w 226"/>
              <a:gd name="T23" fmla="*/ 0 h 2"/>
              <a:gd name="T24" fmla="*/ 56 w 226"/>
              <a:gd name="T25" fmla="*/ 2 h 2"/>
              <a:gd name="T26" fmla="*/ 41 w 226"/>
              <a:gd name="T27" fmla="*/ 2 h 2"/>
              <a:gd name="T28" fmla="*/ 41 w 226"/>
              <a:gd name="T29" fmla="*/ 0 h 2"/>
              <a:gd name="T30" fmla="*/ 61 w 226"/>
              <a:gd name="T31" fmla="*/ 0 h 2"/>
              <a:gd name="T32" fmla="*/ 76 w 226"/>
              <a:gd name="T33" fmla="*/ 0 h 2"/>
              <a:gd name="T34" fmla="*/ 76 w 226"/>
              <a:gd name="T35" fmla="*/ 2 h 2"/>
              <a:gd name="T36" fmla="*/ 61 w 226"/>
              <a:gd name="T37" fmla="*/ 2 h 2"/>
              <a:gd name="T38" fmla="*/ 61 w 226"/>
              <a:gd name="T39" fmla="*/ 0 h 2"/>
              <a:gd name="T40" fmla="*/ 82 w 226"/>
              <a:gd name="T41" fmla="*/ 0 h 2"/>
              <a:gd name="T42" fmla="*/ 97 w 226"/>
              <a:gd name="T43" fmla="*/ 0 h 2"/>
              <a:gd name="T44" fmla="*/ 97 w 226"/>
              <a:gd name="T45" fmla="*/ 2 h 2"/>
              <a:gd name="T46" fmla="*/ 82 w 226"/>
              <a:gd name="T47" fmla="*/ 2 h 2"/>
              <a:gd name="T48" fmla="*/ 82 w 226"/>
              <a:gd name="T49" fmla="*/ 0 h 2"/>
              <a:gd name="T50" fmla="*/ 102 w 226"/>
              <a:gd name="T51" fmla="*/ 0 h 2"/>
              <a:gd name="T52" fmla="*/ 117 w 226"/>
              <a:gd name="T53" fmla="*/ 0 h 2"/>
              <a:gd name="T54" fmla="*/ 117 w 226"/>
              <a:gd name="T55" fmla="*/ 2 h 2"/>
              <a:gd name="T56" fmla="*/ 102 w 226"/>
              <a:gd name="T57" fmla="*/ 2 h 2"/>
              <a:gd name="T58" fmla="*/ 102 w 226"/>
              <a:gd name="T59" fmla="*/ 0 h 2"/>
              <a:gd name="T60" fmla="*/ 122 w 226"/>
              <a:gd name="T61" fmla="*/ 0 h 2"/>
              <a:gd name="T62" fmla="*/ 137 w 226"/>
              <a:gd name="T63" fmla="*/ 0 h 2"/>
              <a:gd name="T64" fmla="*/ 137 w 226"/>
              <a:gd name="T65" fmla="*/ 2 h 2"/>
              <a:gd name="T66" fmla="*/ 122 w 226"/>
              <a:gd name="T67" fmla="*/ 2 h 2"/>
              <a:gd name="T68" fmla="*/ 122 w 226"/>
              <a:gd name="T69" fmla="*/ 0 h 2"/>
              <a:gd name="T70" fmla="*/ 143 w 226"/>
              <a:gd name="T71" fmla="*/ 0 h 2"/>
              <a:gd name="T72" fmla="*/ 158 w 226"/>
              <a:gd name="T73" fmla="*/ 0 h 2"/>
              <a:gd name="T74" fmla="*/ 158 w 226"/>
              <a:gd name="T75" fmla="*/ 2 h 2"/>
              <a:gd name="T76" fmla="*/ 143 w 226"/>
              <a:gd name="T77" fmla="*/ 2 h 2"/>
              <a:gd name="T78" fmla="*/ 143 w 226"/>
              <a:gd name="T79" fmla="*/ 0 h 2"/>
              <a:gd name="T80" fmla="*/ 163 w 226"/>
              <a:gd name="T81" fmla="*/ 0 h 2"/>
              <a:gd name="T82" fmla="*/ 178 w 226"/>
              <a:gd name="T83" fmla="*/ 0 h 2"/>
              <a:gd name="T84" fmla="*/ 178 w 226"/>
              <a:gd name="T85" fmla="*/ 2 h 2"/>
              <a:gd name="T86" fmla="*/ 163 w 226"/>
              <a:gd name="T87" fmla="*/ 2 h 2"/>
              <a:gd name="T88" fmla="*/ 163 w 226"/>
              <a:gd name="T89" fmla="*/ 0 h 2"/>
              <a:gd name="T90" fmla="*/ 184 w 226"/>
              <a:gd name="T91" fmla="*/ 0 h 2"/>
              <a:gd name="T92" fmla="*/ 198 w 226"/>
              <a:gd name="T93" fmla="*/ 0 h 2"/>
              <a:gd name="T94" fmla="*/ 198 w 226"/>
              <a:gd name="T95" fmla="*/ 2 h 2"/>
              <a:gd name="T96" fmla="*/ 184 w 226"/>
              <a:gd name="T97" fmla="*/ 2 h 2"/>
              <a:gd name="T98" fmla="*/ 184 w 226"/>
              <a:gd name="T99" fmla="*/ 0 h 2"/>
              <a:gd name="T100" fmla="*/ 204 w 226"/>
              <a:gd name="T101" fmla="*/ 0 h 2"/>
              <a:gd name="T102" fmla="*/ 219 w 226"/>
              <a:gd name="T103" fmla="*/ 0 h 2"/>
              <a:gd name="T104" fmla="*/ 219 w 226"/>
              <a:gd name="T105" fmla="*/ 2 h 2"/>
              <a:gd name="T106" fmla="*/ 204 w 226"/>
              <a:gd name="T107" fmla="*/ 2 h 2"/>
              <a:gd name="T108" fmla="*/ 204 w 226"/>
              <a:gd name="T109" fmla="*/ 0 h 2"/>
              <a:gd name="T110" fmla="*/ 224 w 226"/>
              <a:gd name="T111" fmla="*/ 0 h 2"/>
              <a:gd name="T112" fmla="*/ 226 w 226"/>
              <a:gd name="T113" fmla="*/ 0 h 2"/>
              <a:gd name="T114" fmla="*/ 226 w 226"/>
              <a:gd name="T115" fmla="*/ 2 h 2"/>
              <a:gd name="T116" fmla="*/ 224 w 226"/>
              <a:gd name="T117" fmla="*/ 2 h 2"/>
              <a:gd name="T118" fmla="*/ 224 w 226"/>
              <a:gd name="T11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26" h="2">
                <a:moveTo>
                  <a:pt x="0" y="0"/>
                </a:moveTo>
                <a:lnTo>
                  <a:pt x="15" y="0"/>
                </a:lnTo>
                <a:lnTo>
                  <a:pt x="15" y="2"/>
                </a:lnTo>
                <a:lnTo>
                  <a:pt x="0" y="2"/>
                </a:lnTo>
                <a:lnTo>
                  <a:pt x="0" y="0"/>
                </a:lnTo>
                <a:close/>
                <a:moveTo>
                  <a:pt x="21" y="0"/>
                </a:moveTo>
                <a:lnTo>
                  <a:pt x="35" y="0"/>
                </a:lnTo>
                <a:lnTo>
                  <a:pt x="35" y="2"/>
                </a:lnTo>
                <a:lnTo>
                  <a:pt x="21" y="2"/>
                </a:lnTo>
                <a:lnTo>
                  <a:pt x="21" y="0"/>
                </a:lnTo>
                <a:close/>
                <a:moveTo>
                  <a:pt x="41" y="0"/>
                </a:moveTo>
                <a:lnTo>
                  <a:pt x="56" y="0"/>
                </a:lnTo>
                <a:lnTo>
                  <a:pt x="56" y="2"/>
                </a:lnTo>
                <a:lnTo>
                  <a:pt x="41" y="2"/>
                </a:lnTo>
                <a:lnTo>
                  <a:pt x="41" y="0"/>
                </a:lnTo>
                <a:close/>
                <a:moveTo>
                  <a:pt x="61" y="0"/>
                </a:moveTo>
                <a:lnTo>
                  <a:pt x="76" y="0"/>
                </a:lnTo>
                <a:lnTo>
                  <a:pt x="76" y="2"/>
                </a:lnTo>
                <a:lnTo>
                  <a:pt x="61" y="2"/>
                </a:lnTo>
                <a:lnTo>
                  <a:pt x="61" y="0"/>
                </a:lnTo>
                <a:close/>
                <a:moveTo>
                  <a:pt x="82" y="0"/>
                </a:moveTo>
                <a:lnTo>
                  <a:pt x="97" y="0"/>
                </a:lnTo>
                <a:lnTo>
                  <a:pt x="97" y="2"/>
                </a:lnTo>
                <a:lnTo>
                  <a:pt x="82" y="2"/>
                </a:lnTo>
                <a:lnTo>
                  <a:pt x="82" y="0"/>
                </a:lnTo>
                <a:close/>
                <a:moveTo>
                  <a:pt x="102" y="0"/>
                </a:moveTo>
                <a:lnTo>
                  <a:pt x="117" y="0"/>
                </a:lnTo>
                <a:lnTo>
                  <a:pt x="117" y="2"/>
                </a:lnTo>
                <a:lnTo>
                  <a:pt x="102" y="2"/>
                </a:lnTo>
                <a:lnTo>
                  <a:pt x="102" y="0"/>
                </a:lnTo>
                <a:close/>
                <a:moveTo>
                  <a:pt x="122" y="0"/>
                </a:moveTo>
                <a:lnTo>
                  <a:pt x="137" y="0"/>
                </a:lnTo>
                <a:lnTo>
                  <a:pt x="137" y="2"/>
                </a:lnTo>
                <a:lnTo>
                  <a:pt x="122" y="2"/>
                </a:lnTo>
                <a:lnTo>
                  <a:pt x="122" y="0"/>
                </a:lnTo>
                <a:close/>
                <a:moveTo>
                  <a:pt x="143" y="0"/>
                </a:moveTo>
                <a:lnTo>
                  <a:pt x="158" y="0"/>
                </a:lnTo>
                <a:lnTo>
                  <a:pt x="158" y="2"/>
                </a:lnTo>
                <a:lnTo>
                  <a:pt x="143" y="2"/>
                </a:lnTo>
                <a:lnTo>
                  <a:pt x="143" y="0"/>
                </a:lnTo>
                <a:close/>
                <a:moveTo>
                  <a:pt x="163" y="0"/>
                </a:moveTo>
                <a:lnTo>
                  <a:pt x="178" y="0"/>
                </a:lnTo>
                <a:lnTo>
                  <a:pt x="178" y="2"/>
                </a:lnTo>
                <a:lnTo>
                  <a:pt x="163" y="2"/>
                </a:lnTo>
                <a:lnTo>
                  <a:pt x="163" y="0"/>
                </a:lnTo>
                <a:close/>
                <a:moveTo>
                  <a:pt x="184" y="0"/>
                </a:moveTo>
                <a:lnTo>
                  <a:pt x="198" y="0"/>
                </a:lnTo>
                <a:lnTo>
                  <a:pt x="198" y="2"/>
                </a:lnTo>
                <a:lnTo>
                  <a:pt x="184" y="2"/>
                </a:lnTo>
                <a:lnTo>
                  <a:pt x="184" y="0"/>
                </a:lnTo>
                <a:close/>
                <a:moveTo>
                  <a:pt x="204" y="0"/>
                </a:moveTo>
                <a:lnTo>
                  <a:pt x="219" y="0"/>
                </a:lnTo>
                <a:lnTo>
                  <a:pt x="219" y="2"/>
                </a:lnTo>
                <a:lnTo>
                  <a:pt x="204" y="2"/>
                </a:lnTo>
                <a:lnTo>
                  <a:pt x="204" y="0"/>
                </a:lnTo>
                <a:close/>
                <a:moveTo>
                  <a:pt x="224" y="0"/>
                </a:moveTo>
                <a:lnTo>
                  <a:pt x="226" y="0"/>
                </a:lnTo>
                <a:lnTo>
                  <a:pt x="226" y="2"/>
                </a:lnTo>
                <a:lnTo>
                  <a:pt x="224" y="2"/>
                </a:lnTo>
                <a:lnTo>
                  <a:pt x="224" y="0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8" name="Freeform 12"/>
          <p:cNvSpPr>
            <a:spLocks noEditPoints="1"/>
          </p:cNvSpPr>
          <p:nvPr/>
        </p:nvSpPr>
        <p:spPr bwMode="auto">
          <a:xfrm>
            <a:off x="10297735" y="5494584"/>
            <a:ext cx="358775" cy="2299"/>
          </a:xfrm>
          <a:custGeom>
            <a:avLst/>
            <a:gdLst>
              <a:gd name="T0" fmla="*/ 0 w 226"/>
              <a:gd name="T1" fmla="*/ 0 h 1"/>
              <a:gd name="T2" fmla="*/ 15 w 226"/>
              <a:gd name="T3" fmla="*/ 0 h 1"/>
              <a:gd name="T4" fmla="*/ 15 w 226"/>
              <a:gd name="T5" fmla="*/ 1 h 1"/>
              <a:gd name="T6" fmla="*/ 0 w 226"/>
              <a:gd name="T7" fmla="*/ 1 h 1"/>
              <a:gd name="T8" fmla="*/ 0 w 226"/>
              <a:gd name="T9" fmla="*/ 0 h 1"/>
              <a:gd name="T10" fmla="*/ 21 w 226"/>
              <a:gd name="T11" fmla="*/ 0 h 1"/>
              <a:gd name="T12" fmla="*/ 36 w 226"/>
              <a:gd name="T13" fmla="*/ 0 h 1"/>
              <a:gd name="T14" fmla="*/ 36 w 226"/>
              <a:gd name="T15" fmla="*/ 1 h 1"/>
              <a:gd name="T16" fmla="*/ 21 w 226"/>
              <a:gd name="T17" fmla="*/ 1 h 1"/>
              <a:gd name="T18" fmla="*/ 21 w 226"/>
              <a:gd name="T19" fmla="*/ 0 h 1"/>
              <a:gd name="T20" fmla="*/ 41 w 226"/>
              <a:gd name="T21" fmla="*/ 0 h 1"/>
              <a:gd name="T22" fmla="*/ 56 w 226"/>
              <a:gd name="T23" fmla="*/ 0 h 1"/>
              <a:gd name="T24" fmla="*/ 56 w 226"/>
              <a:gd name="T25" fmla="*/ 1 h 1"/>
              <a:gd name="T26" fmla="*/ 41 w 226"/>
              <a:gd name="T27" fmla="*/ 1 h 1"/>
              <a:gd name="T28" fmla="*/ 41 w 226"/>
              <a:gd name="T29" fmla="*/ 0 h 1"/>
              <a:gd name="T30" fmla="*/ 61 w 226"/>
              <a:gd name="T31" fmla="*/ 0 h 1"/>
              <a:gd name="T32" fmla="*/ 76 w 226"/>
              <a:gd name="T33" fmla="*/ 0 h 1"/>
              <a:gd name="T34" fmla="*/ 76 w 226"/>
              <a:gd name="T35" fmla="*/ 1 h 1"/>
              <a:gd name="T36" fmla="*/ 61 w 226"/>
              <a:gd name="T37" fmla="*/ 1 h 1"/>
              <a:gd name="T38" fmla="*/ 61 w 226"/>
              <a:gd name="T39" fmla="*/ 0 h 1"/>
              <a:gd name="T40" fmla="*/ 82 w 226"/>
              <a:gd name="T41" fmla="*/ 0 h 1"/>
              <a:gd name="T42" fmla="*/ 97 w 226"/>
              <a:gd name="T43" fmla="*/ 0 h 1"/>
              <a:gd name="T44" fmla="*/ 97 w 226"/>
              <a:gd name="T45" fmla="*/ 1 h 1"/>
              <a:gd name="T46" fmla="*/ 82 w 226"/>
              <a:gd name="T47" fmla="*/ 1 h 1"/>
              <a:gd name="T48" fmla="*/ 82 w 226"/>
              <a:gd name="T49" fmla="*/ 0 h 1"/>
              <a:gd name="T50" fmla="*/ 102 w 226"/>
              <a:gd name="T51" fmla="*/ 0 h 1"/>
              <a:gd name="T52" fmla="*/ 117 w 226"/>
              <a:gd name="T53" fmla="*/ 0 h 1"/>
              <a:gd name="T54" fmla="*/ 117 w 226"/>
              <a:gd name="T55" fmla="*/ 1 h 1"/>
              <a:gd name="T56" fmla="*/ 102 w 226"/>
              <a:gd name="T57" fmla="*/ 1 h 1"/>
              <a:gd name="T58" fmla="*/ 102 w 226"/>
              <a:gd name="T59" fmla="*/ 0 h 1"/>
              <a:gd name="T60" fmla="*/ 123 w 226"/>
              <a:gd name="T61" fmla="*/ 0 h 1"/>
              <a:gd name="T62" fmla="*/ 137 w 226"/>
              <a:gd name="T63" fmla="*/ 0 h 1"/>
              <a:gd name="T64" fmla="*/ 137 w 226"/>
              <a:gd name="T65" fmla="*/ 1 h 1"/>
              <a:gd name="T66" fmla="*/ 123 w 226"/>
              <a:gd name="T67" fmla="*/ 1 h 1"/>
              <a:gd name="T68" fmla="*/ 123 w 226"/>
              <a:gd name="T69" fmla="*/ 0 h 1"/>
              <a:gd name="T70" fmla="*/ 143 w 226"/>
              <a:gd name="T71" fmla="*/ 0 h 1"/>
              <a:gd name="T72" fmla="*/ 158 w 226"/>
              <a:gd name="T73" fmla="*/ 0 h 1"/>
              <a:gd name="T74" fmla="*/ 158 w 226"/>
              <a:gd name="T75" fmla="*/ 1 h 1"/>
              <a:gd name="T76" fmla="*/ 143 w 226"/>
              <a:gd name="T77" fmla="*/ 1 h 1"/>
              <a:gd name="T78" fmla="*/ 143 w 226"/>
              <a:gd name="T79" fmla="*/ 0 h 1"/>
              <a:gd name="T80" fmla="*/ 163 w 226"/>
              <a:gd name="T81" fmla="*/ 0 h 1"/>
              <a:gd name="T82" fmla="*/ 178 w 226"/>
              <a:gd name="T83" fmla="*/ 0 h 1"/>
              <a:gd name="T84" fmla="*/ 178 w 226"/>
              <a:gd name="T85" fmla="*/ 1 h 1"/>
              <a:gd name="T86" fmla="*/ 163 w 226"/>
              <a:gd name="T87" fmla="*/ 1 h 1"/>
              <a:gd name="T88" fmla="*/ 163 w 226"/>
              <a:gd name="T89" fmla="*/ 0 h 1"/>
              <a:gd name="T90" fmla="*/ 184 w 226"/>
              <a:gd name="T91" fmla="*/ 0 h 1"/>
              <a:gd name="T92" fmla="*/ 199 w 226"/>
              <a:gd name="T93" fmla="*/ 0 h 1"/>
              <a:gd name="T94" fmla="*/ 199 w 226"/>
              <a:gd name="T95" fmla="*/ 1 h 1"/>
              <a:gd name="T96" fmla="*/ 184 w 226"/>
              <a:gd name="T97" fmla="*/ 1 h 1"/>
              <a:gd name="T98" fmla="*/ 184 w 226"/>
              <a:gd name="T99" fmla="*/ 0 h 1"/>
              <a:gd name="T100" fmla="*/ 204 w 226"/>
              <a:gd name="T101" fmla="*/ 0 h 1"/>
              <a:gd name="T102" fmla="*/ 219 w 226"/>
              <a:gd name="T103" fmla="*/ 0 h 1"/>
              <a:gd name="T104" fmla="*/ 219 w 226"/>
              <a:gd name="T105" fmla="*/ 1 h 1"/>
              <a:gd name="T106" fmla="*/ 204 w 226"/>
              <a:gd name="T107" fmla="*/ 1 h 1"/>
              <a:gd name="T108" fmla="*/ 204 w 226"/>
              <a:gd name="T109" fmla="*/ 0 h 1"/>
              <a:gd name="T110" fmla="*/ 224 w 226"/>
              <a:gd name="T111" fmla="*/ 0 h 1"/>
              <a:gd name="T112" fmla="*/ 226 w 226"/>
              <a:gd name="T113" fmla="*/ 0 h 1"/>
              <a:gd name="T114" fmla="*/ 226 w 226"/>
              <a:gd name="T115" fmla="*/ 1 h 1"/>
              <a:gd name="T116" fmla="*/ 224 w 226"/>
              <a:gd name="T117" fmla="*/ 1 h 1"/>
              <a:gd name="T118" fmla="*/ 224 w 226"/>
              <a:gd name="T11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26" h="1">
                <a:moveTo>
                  <a:pt x="0" y="0"/>
                </a:moveTo>
                <a:lnTo>
                  <a:pt x="15" y="0"/>
                </a:lnTo>
                <a:lnTo>
                  <a:pt x="15" y="1"/>
                </a:lnTo>
                <a:lnTo>
                  <a:pt x="0" y="1"/>
                </a:lnTo>
                <a:lnTo>
                  <a:pt x="0" y="0"/>
                </a:lnTo>
                <a:close/>
                <a:moveTo>
                  <a:pt x="21" y="0"/>
                </a:moveTo>
                <a:lnTo>
                  <a:pt x="36" y="0"/>
                </a:lnTo>
                <a:lnTo>
                  <a:pt x="36" y="1"/>
                </a:lnTo>
                <a:lnTo>
                  <a:pt x="21" y="1"/>
                </a:lnTo>
                <a:lnTo>
                  <a:pt x="21" y="0"/>
                </a:lnTo>
                <a:close/>
                <a:moveTo>
                  <a:pt x="41" y="0"/>
                </a:moveTo>
                <a:lnTo>
                  <a:pt x="56" y="0"/>
                </a:lnTo>
                <a:lnTo>
                  <a:pt x="56" y="1"/>
                </a:lnTo>
                <a:lnTo>
                  <a:pt x="41" y="1"/>
                </a:lnTo>
                <a:lnTo>
                  <a:pt x="41" y="0"/>
                </a:lnTo>
                <a:close/>
                <a:moveTo>
                  <a:pt x="61" y="0"/>
                </a:moveTo>
                <a:lnTo>
                  <a:pt x="76" y="0"/>
                </a:lnTo>
                <a:lnTo>
                  <a:pt x="76" y="1"/>
                </a:lnTo>
                <a:lnTo>
                  <a:pt x="61" y="1"/>
                </a:lnTo>
                <a:lnTo>
                  <a:pt x="61" y="0"/>
                </a:lnTo>
                <a:close/>
                <a:moveTo>
                  <a:pt x="82" y="0"/>
                </a:moveTo>
                <a:lnTo>
                  <a:pt x="97" y="0"/>
                </a:lnTo>
                <a:lnTo>
                  <a:pt x="97" y="1"/>
                </a:lnTo>
                <a:lnTo>
                  <a:pt x="82" y="1"/>
                </a:lnTo>
                <a:lnTo>
                  <a:pt x="82" y="0"/>
                </a:lnTo>
                <a:close/>
                <a:moveTo>
                  <a:pt x="102" y="0"/>
                </a:moveTo>
                <a:lnTo>
                  <a:pt x="117" y="0"/>
                </a:lnTo>
                <a:lnTo>
                  <a:pt x="117" y="1"/>
                </a:lnTo>
                <a:lnTo>
                  <a:pt x="102" y="1"/>
                </a:lnTo>
                <a:lnTo>
                  <a:pt x="102" y="0"/>
                </a:lnTo>
                <a:close/>
                <a:moveTo>
                  <a:pt x="123" y="0"/>
                </a:moveTo>
                <a:lnTo>
                  <a:pt x="137" y="0"/>
                </a:lnTo>
                <a:lnTo>
                  <a:pt x="137" y="1"/>
                </a:lnTo>
                <a:lnTo>
                  <a:pt x="123" y="1"/>
                </a:lnTo>
                <a:lnTo>
                  <a:pt x="123" y="0"/>
                </a:lnTo>
                <a:close/>
                <a:moveTo>
                  <a:pt x="143" y="0"/>
                </a:moveTo>
                <a:lnTo>
                  <a:pt x="158" y="0"/>
                </a:lnTo>
                <a:lnTo>
                  <a:pt x="158" y="1"/>
                </a:lnTo>
                <a:lnTo>
                  <a:pt x="143" y="1"/>
                </a:lnTo>
                <a:lnTo>
                  <a:pt x="143" y="0"/>
                </a:lnTo>
                <a:close/>
                <a:moveTo>
                  <a:pt x="163" y="0"/>
                </a:moveTo>
                <a:lnTo>
                  <a:pt x="178" y="0"/>
                </a:lnTo>
                <a:lnTo>
                  <a:pt x="178" y="1"/>
                </a:lnTo>
                <a:lnTo>
                  <a:pt x="163" y="1"/>
                </a:lnTo>
                <a:lnTo>
                  <a:pt x="163" y="0"/>
                </a:lnTo>
                <a:close/>
                <a:moveTo>
                  <a:pt x="184" y="0"/>
                </a:moveTo>
                <a:lnTo>
                  <a:pt x="199" y="0"/>
                </a:lnTo>
                <a:lnTo>
                  <a:pt x="199" y="1"/>
                </a:lnTo>
                <a:lnTo>
                  <a:pt x="184" y="1"/>
                </a:lnTo>
                <a:lnTo>
                  <a:pt x="184" y="0"/>
                </a:lnTo>
                <a:close/>
                <a:moveTo>
                  <a:pt x="204" y="0"/>
                </a:moveTo>
                <a:lnTo>
                  <a:pt x="219" y="0"/>
                </a:lnTo>
                <a:lnTo>
                  <a:pt x="219" y="1"/>
                </a:lnTo>
                <a:lnTo>
                  <a:pt x="204" y="1"/>
                </a:lnTo>
                <a:lnTo>
                  <a:pt x="204" y="0"/>
                </a:lnTo>
                <a:close/>
                <a:moveTo>
                  <a:pt x="224" y="0"/>
                </a:moveTo>
                <a:lnTo>
                  <a:pt x="226" y="0"/>
                </a:lnTo>
                <a:lnTo>
                  <a:pt x="226" y="1"/>
                </a:lnTo>
                <a:lnTo>
                  <a:pt x="224" y="1"/>
                </a:lnTo>
                <a:lnTo>
                  <a:pt x="224" y="0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9" name="Freeform 13"/>
          <p:cNvSpPr>
            <a:spLocks noEditPoints="1"/>
          </p:cNvSpPr>
          <p:nvPr/>
        </p:nvSpPr>
        <p:spPr bwMode="auto">
          <a:xfrm>
            <a:off x="7881560" y="2450271"/>
            <a:ext cx="358775" cy="2299"/>
          </a:xfrm>
          <a:custGeom>
            <a:avLst/>
            <a:gdLst>
              <a:gd name="T0" fmla="*/ 0 w 226"/>
              <a:gd name="T1" fmla="*/ 0 h 1"/>
              <a:gd name="T2" fmla="*/ 15 w 226"/>
              <a:gd name="T3" fmla="*/ 0 h 1"/>
              <a:gd name="T4" fmla="*/ 15 w 226"/>
              <a:gd name="T5" fmla="*/ 1 h 1"/>
              <a:gd name="T6" fmla="*/ 0 w 226"/>
              <a:gd name="T7" fmla="*/ 1 h 1"/>
              <a:gd name="T8" fmla="*/ 0 w 226"/>
              <a:gd name="T9" fmla="*/ 0 h 1"/>
              <a:gd name="T10" fmla="*/ 20 w 226"/>
              <a:gd name="T11" fmla="*/ 0 h 1"/>
              <a:gd name="T12" fmla="*/ 35 w 226"/>
              <a:gd name="T13" fmla="*/ 0 h 1"/>
              <a:gd name="T14" fmla="*/ 35 w 226"/>
              <a:gd name="T15" fmla="*/ 1 h 1"/>
              <a:gd name="T16" fmla="*/ 20 w 226"/>
              <a:gd name="T17" fmla="*/ 1 h 1"/>
              <a:gd name="T18" fmla="*/ 20 w 226"/>
              <a:gd name="T19" fmla="*/ 0 h 1"/>
              <a:gd name="T20" fmla="*/ 41 w 226"/>
              <a:gd name="T21" fmla="*/ 0 h 1"/>
              <a:gd name="T22" fmla="*/ 55 w 226"/>
              <a:gd name="T23" fmla="*/ 0 h 1"/>
              <a:gd name="T24" fmla="*/ 55 w 226"/>
              <a:gd name="T25" fmla="*/ 1 h 1"/>
              <a:gd name="T26" fmla="*/ 41 w 226"/>
              <a:gd name="T27" fmla="*/ 1 h 1"/>
              <a:gd name="T28" fmla="*/ 41 w 226"/>
              <a:gd name="T29" fmla="*/ 0 h 1"/>
              <a:gd name="T30" fmla="*/ 61 w 226"/>
              <a:gd name="T31" fmla="*/ 0 h 1"/>
              <a:gd name="T32" fmla="*/ 76 w 226"/>
              <a:gd name="T33" fmla="*/ 0 h 1"/>
              <a:gd name="T34" fmla="*/ 76 w 226"/>
              <a:gd name="T35" fmla="*/ 1 h 1"/>
              <a:gd name="T36" fmla="*/ 61 w 226"/>
              <a:gd name="T37" fmla="*/ 1 h 1"/>
              <a:gd name="T38" fmla="*/ 61 w 226"/>
              <a:gd name="T39" fmla="*/ 0 h 1"/>
              <a:gd name="T40" fmla="*/ 81 w 226"/>
              <a:gd name="T41" fmla="*/ 0 h 1"/>
              <a:gd name="T42" fmla="*/ 96 w 226"/>
              <a:gd name="T43" fmla="*/ 0 h 1"/>
              <a:gd name="T44" fmla="*/ 96 w 226"/>
              <a:gd name="T45" fmla="*/ 1 h 1"/>
              <a:gd name="T46" fmla="*/ 81 w 226"/>
              <a:gd name="T47" fmla="*/ 1 h 1"/>
              <a:gd name="T48" fmla="*/ 81 w 226"/>
              <a:gd name="T49" fmla="*/ 0 h 1"/>
              <a:gd name="T50" fmla="*/ 102 w 226"/>
              <a:gd name="T51" fmla="*/ 0 h 1"/>
              <a:gd name="T52" fmla="*/ 117 w 226"/>
              <a:gd name="T53" fmla="*/ 0 h 1"/>
              <a:gd name="T54" fmla="*/ 117 w 226"/>
              <a:gd name="T55" fmla="*/ 1 h 1"/>
              <a:gd name="T56" fmla="*/ 102 w 226"/>
              <a:gd name="T57" fmla="*/ 1 h 1"/>
              <a:gd name="T58" fmla="*/ 102 w 226"/>
              <a:gd name="T59" fmla="*/ 0 h 1"/>
              <a:gd name="T60" fmla="*/ 122 w 226"/>
              <a:gd name="T61" fmla="*/ 0 h 1"/>
              <a:gd name="T62" fmla="*/ 137 w 226"/>
              <a:gd name="T63" fmla="*/ 0 h 1"/>
              <a:gd name="T64" fmla="*/ 137 w 226"/>
              <a:gd name="T65" fmla="*/ 1 h 1"/>
              <a:gd name="T66" fmla="*/ 122 w 226"/>
              <a:gd name="T67" fmla="*/ 1 h 1"/>
              <a:gd name="T68" fmla="*/ 122 w 226"/>
              <a:gd name="T69" fmla="*/ 0 h 1"/>
              <a:gd name="T70" fmla="*/ 143 w 226"/>
              <a:gd name="T71" fmla="*/ 0 h 1"/>
              <a:gd name="T72" fmla="*/ 157 w 226"/>
              <a:gd name="T73" fmla="*/ 0 h 1"/>
              <a:gd name="T74" fmla="*/ 157 w 226"/>
              <a:gd name="T75" fmla="*/ 1 h 1"/>
              <a:gd name="T76" fmla="*/ 143 w 226"/>
              <a:gd name="T77" fmla="*/ 1 h 1"/>
              <a:gd name="T78" fmla="*/ 143 w 226"/>
              <a:gd name="T79" fmla="*/ 0 h 1"/>
              <a:gd name="T80" fmla="*/ 163 w 226"/>
              <a:gd name="T81" fmla="*/ 0 h 1"/>
              <a:gd name="T82" fmla="*/ 178 w 226"/>
              <a:gd name="T83" fmla="*/ 0 h 1"/>
              <a:gd name="T84" fmla="*/ 178 w 226"/>
              <a:gd name="T85" fmla="*/ 1 h 1"/>
              <a:gd name="T86" fmla="*/ 163 w 226"/>
              <a:gd name="T87" fmla="*/ 1 h 1"/>
              <a:gd name="T88" fmla="*/ 163 w 226"/>
              <a:gd name="T89" fmla="*/ 0 h 1"/>
              <a:gd name="T90" fmla="*/ 183 w 226"/>
              <a:gd name="T91" fmla="*/ 0 h 1"/>
              <a:gd name="T92" fmla="*/ 198 w 226"/>
              <a:gd name="T93" fmla="*/ 0 h 1"/>
              <a:gd name="T94" fmla="*/ 198 w 226"/>
              <a:gd name="T95" fmla="*/ 1 h 1"/>
              <a:gd name="T96" fmla="*/ 183 w 226"/>
              <a:gd name="T97" fmla="*/ 1 h 1"/>
              <a:gd name="T98" fmla="*/ 183 w 226"/>
              <a:gd name="T99" fmla="*/ 0 h 1"/>
              <a:gd name="T100" fmla="*/ 204 w 226"/>
              <a:gd name="T101" fmla="*/ 0 h 1"/>
              <a:gd name="T102" fmla="*/ 218 w 226"/>
              <a:gd name="T103" fmla="*/ 0 h 1"/>
              <a:gd name="T104" fmla="*/ 218 w 226"/>
              <a:gd name="T105" fmla="*/ 1 h 1"/>
              <a:gd name="T106" fmla="*/ 204 w 226"/>
              <a:gd name="T107" fmla="*/ 1 h 1"/>
              <a:gd name="T108" fmla="*/ 204 w 226"/>
              <a:gd name="T109" fmla="*/ 0 h 1"/>
              <a:gd name="T110" fmla="*/ 224 w 226"/>
              <a:gd name="T111" fmla="*/ 0 h 1"/>
              <a:gd name="T112" fmla="*/ 226 w 226"/>
              <a:gd name="T113" fmla="*/ 0 h 1"/>
              <a:gd name="T114" fmla="*/ 226 w 226"/>
              <a:gd name="T115" fmla="*/ 1 h 1"/>
              <a:gd name="T116" fmla="*/ 224 w 226"/>
              <a:gd name="T117" fmla="*/ 1 h 1"/>
              <a:gd name="T118" fmla="*/ 224 w 226"/>
              <a:gd name="T11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26" h="1">
                <a:moveTo>
                  <a:pt x="0" y="0"/>
                </a:moveTo>
                <a:lnTo>
                  <a:pt x="15" y="0"/>
                </a:lnTo>
                <a:lnTo>
                  <a:pt x="15" y="1"/>
                </a:lnTo>
                <a:lnTo>
                  <a:pt x="0" y="1"/>
                </a:lnTo>
                <a:lnTo>
                  <a:pt x="0" y="0"/>
                </a:lnTo>
                <a:close/>
                <a:moveTo>
                  <a:pt x="20" y="0"/>
                </a:moveTo>
                <a:lnTo>
                  <a:pt x="35" y="0"/>
                </a:lnTo>
                <a:lnTo>
                  <a:pt x="35" y="1"/>
                </a:lnTo>
                <a:lnTo>
                  <a:pt x="20" y="1"/>
                </a:lnTo>
                <a:lnTo>
                  <a:pt x="20" y="0"/>
                </a:lnTo>
                <a:close/>
                <a:moveTo>
                  <a:pt x="41" y="0"/>
                </a:moveTo>
                <a:lnTo>
                  <a:pt x="55" y="0"/>
                </a:lnTo>
                <a:lnTo>
                  <a:pt x="55" y="1"/>
                </a:lnTo>
                <a:lnTo>
                  <a:pt x="41" y="1"/>
                </a:lnTo>
                <a:lnTo>
                  <a:pt x="41" y="0"/>
                </a:lnTo>
                <a:close/>
                <a:moveTo>
                  <a:pt x="61" y="0"/>
                </a:moveTo>
                <a:lnTo>
                  <a:pt x="76" y="0"/>
                </a:lnTo>
                <a:lnTo>
                  <a:pt x="76" y="1"/>
                </a:lnTo>
                <a:lnTo>
                  <a:pt x="61" y="1"/>
                </a:lnTo>
                <a:lnTo>
                  <a:pt x="61" y="0"/>
                </a:lnTo>
                <a:close/>
                <a:moveTo>
                  <a:pt x="81" y="0"/>
                </a:moveTo>
                <a:lnTo>
                  <a:pt x="96" y="0"/>
                </a:lnTo>
                <a:lnTo>
                  <a:pt x="96" y="1"/>
                </a:lnTo>
                <a:lnTo>
                  <a:pt x="81" y="1"/>
                </a:lnTo>
                <a:lnTo>
                  <a:pt x="81" y="0"/>
                </a:lnTo>
                <a:close/>
                <a:moveTo>
                  <a:pt x="102" y="0"/>
                </a:moveTo>
                <a:lnTo>
                  <a:pt x="117" y="0"/>
                </a:lnTo>
                <a:lnTo>
                  <a:pt x="117" y="1"/>
                </a:lnTo>
                <a:lnTo>
                  <a:pt x="102" y="1"/>
                </a:lnTo>
                <a:lnTo>
                  <a:pt x="102" y="0"/>
                </a:lnTo>
                <a:close/>
                <a:moveTo>
                  <a:pt x="122" y="0"/>
                </a:moveTo>
                <a:lnTo>
                  <a:pt x="137" y="0"/>
                </a:lnTo>
                <a:lnTo>
                  <a:pt x="137" y="1"/>
                </a:lnTo>
                <a:lnTo>
                  <a:pt x="122" y="1"/>
                </a:lnTo>
                <a:lnTo>
                  <a:pt x="122" y="0"/>
                </a:lnTo>
                <a:close/>
                <a:moveTo>
                  <a:pt x="143" y="0"/>
                </a:moveTo>
                <a:lnTo>
                  <a:pt x="157" y="0"/>
                </a:lnTo>
                <a:lnTo>
                  <a:pt x="157" y="1"/>
                </a:lnTo>
                <a:lnTo>
                  <a:pt x="143" y="1"/>
                </a:lnTo>
                <a:lnTo>
                  <a:pt x="143" y="0"/>
                </a:lnTo>
                <a:close/>
                <a:moveTo>
                  <a:pt x="163" y="0"/>
                </a:moveTo>
                <a:lnTo>
                  <a:pt x="178" y="0"/>
                </a:lnTo>
                <a:lnTo>
                  <a:pt x="178" y="1"/>
                </a:lnTo>
                <a:lnTo>
                  <a:pt x="163" y="1"/>
                </a:lnTo>
                <a:lnTo>
                  <a:pt x="163" y="0"/>
                </a:lnTo>
                <a:close/>
                <a:moveTo>
                  <a:pt x="183" y="0"/>
                </a:moveTo>
                <a:lnTo>
                  <a:pt x="198" y="0"/>
                </a:lnTo>
                <a:lnTo>
                  <a:pt x="198" y="1"/>
                </a:lnTo>
                <a:lnTo>
                  <a:pt x="183" y="1"/>
                </a:lnTo>
                <a:lnTo>
                  <a:pt x="183" y="0"/>
                </a:lnTo>
                <a:close/>
                <a:moveTo>
                  <a:pt x="204" y="0"/>
                </a:moveTo>
                <a:lnTo>
                  <a:pt x="218" y="0"/>
                </a:lnTo>
                <a:lnTo>
                  <a:pt x="218" y="1"/>
                </a:lnTo>
                <a:lnTo>
                  <a:pt x="204" y="1"/>
                </a:lnTo>
                <a:lnTo>
                  <a:pt x="204" y="0"/>
                </a:lnTo>
                <a:close/>
                <a:moveTo>
                  <a:pt x="224" y="0"/>
                </a:moveTo>
                <a:lnTo>
                  <a:pt x="226" y="0"/>
                </a:lnTo>
                <a:lnTo>
                  <a:pt x="226" y="1"/>
                </a:lnTo>
                <a:lnTo>
                  <a:pt x="224" y="1"/>
                </a:lnTo>
                <a:lnTo>
                  <a:pt x="224" y="0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b="1" dirty="0">
              <a:solidFill>
                <a:srgbClr val="002060"/>
              </a:solidFill>
            </a:endParaRPr>
          </a:p>
        </p:txBody>
      </p:sp>
      <p:sp>
        <p:nvSpPr>
          <p:cNvPr id="10" name="Freeform 14"/>
          <p:cNvSpPr>
            <a:spLocks noEditPoints="1"/>
          </p:cNvSpPr>
          <p:nvPr/>
        </p:nvSpPr>
        <p:spPr bwMode="auto">
          <a:xfrm>
            <a:off x="9489698" y="4452987"/>
            <a:ext cx="358775" cy="4599"/>
          </a:xfrm>
          <a:custGeom>
            <a:avLst/>
            <a:gdLst>
              <a:gd name="T0" fmla="*/ 0 w 226"/>
              <a:gd name="T1" fmla="*/ 0 h 2"/>
              <a:gd name="T2" fmla="*/ 15 w 226"/>
              <a:gd name="T3" fmla="*/ 0 h 2"/>
              <a:gd name="T4" fmla="*/ 15 w 226"/>
              <a:gd name="T5" fmla="*/ 2 h 2"/>
              <a:gd name="T6" fmla="*/ 0 w 226"/>
              <a:gd name="T7" fmla="*/ 2 h 2"/>
              <a:gd name="T8" fmla="*/ 0 w 226"/>
              <a:gd name="T9" fmla="*/ 0 h 2"/>
              <a:gd name="T10" fmla="*/ 20 w 226"/>
              <a:gd name="T11" fmla="*/ 0 h 2"/>
              <a:gd name="T12" fmla="*/ 35 w 226"/>
              <a:gd name="T13" fmla="*/ 0 h 2"/>
              <a:gd name="T14" fmla="*/ 35 w 226"/>
              <a:gd name="T15" fmla="*/ 2 h 2"/>
              <a:gd name="T16" fmla="*/ 20 w 226"/>
              <a:gd name="T17" fmla="*/ 2 h 2"/>
              <a:gd name="T18" fmla="*/ 20 w 226"/>
              <a:gd name="T19" fmla="*/ 0 h 2"/>
              <a:gd name="T20" fmla="*/ 41 w 226"/>
              <a:gd name="T21" fmla="*/ 0 h 2"/>
              <a:gd name="T22" fmla="*/ 56 w 226"/>
              <a:gd name="T23" fmla="*/ 0 h 2"/>
              <a:gd name="T24" fmla="*/ 56 w 226"/>
              <a:gd name="T25" fmla="*/ 2 h 2"/>
              <a:gd name="T26" fmla="*/ 41 w 226"/>
              <a:gd name="T27" fmla="*/ 2 h 2"/>
              <a:gd name="T28" fmla="*/ 41 w 226"/>
              <a:gd name="T29" fmla="*/ 0 h 2"/>
              <a:gd name="T30" fmla="*/ 61 w 226"/>
              <a:gd name="T31" fmla="*/ 0 h 2"/>
              <a:gd name="T32" fmla="*/ 76 w 226"/>
              <a:gd name="T33" fmla="*/ 0 h 2"/>
              <a:gd name="T34" fmla="*/ 76 w 226"/>
              <a:gd name="T35" fmla="*/ 2 h 2"/>
              <a:gd name="T36" fmla="*/ 61 w 226"/>
              <a:gd name="T37" fmla="*/ 2 h 2"/>
              <a:gd name="T38" fmla="*/ 61 w 226"/>
              <a:gd name="T39" fmla="*/ 0 h 2"/>
              <a:gd name="T40" fmla="*/ 82 w 226"/>
              <a:gd name="T41" fmla="*/ 0 h 2"/>
              <a:gd name="T42" fmla="*/ 96 w 226"/>
              <a:gd name="T43" fmla="*/ 0 h 2"/>
              <a:gd name="T44" fmla="*/ 96 w 226"/>
              <a:gd name="T45" fmla="*/ 2 h 2"/>
              <a:gd name="T46" fmla="*/ 82 w 226"/>
              <a:gd name="T47" fmla="*/ 2 h 2"/>
              <a:gd name="T48" fmla="*/ 82 w 226"/>
              <a:gd name="T49" fmla="*/ 0 h 2"/>
              <a:gd name="T50" fmla="*/ 102 w 226"/>
              <a:gd name="T51" fmla="*/ 0 h 2"/>
              <a:gd name="T52" fmla="*/ 117 w 226"/>
              <a:gd name="T53" fmla="*/ 0 h 2"/>
              <a:gd name="T54" fmla="*/ 117 w 226"/>
              <a:gd name="T55" fmla="*/ 2 h 2"/>
              <a:gd name="T56" fmla="*/ 102 w 226"/>
              <a:gd name="T57" fmla="*/ 2 h 2"/>
              <a:gd name="T58" fmla="*/ 102 w 226"/>
              <a:gd name="T59" fmla="*/ 0 h 2"/>
              <a:gd name="T60" fmla="*/ 122 w 226"/>
              <a:gd name="T61" fmla="*/ 0 h 2"/>
              <a:gd name="T62" fmla="*/ 137 w 226"/>
              <a:gd name="T63" fmla="*/ 0 h 2"/>
              <a:gd name="T64" fmla="*/ 137 w 226"/>
              <a:gd name="T65" fmla="*/ 2 h 2"/>
              <a:gd name="T66" fmla="*/ 122 w 226"/>
              <a:gd name="T67" fmla="*/ 2 h 2"/>
              <a:gd name="T68" fmla="*/ 122 w 226"/>
              <a:gd name="T69" fmla="*/ 0 h 2"/>
              <a:gd name="T70" fmla="*/ 143 w 226"/>
              <a:gd name="T71" fmla="*/ 0 h 2"/>
              <a:gd name="T72" fmla="*/ 157 w 226"/>
              <a:gd name="T73" fmla="*/ 0 h 2"/>
              <a:gd name="T74" fmla="*/ 157 w 226"/>
              <a:gd name="T75" fmla="*/ 2 h 2"/>
              <a:gd name="T76" fmla="*/ 143 w 226"/>
              <a:gd name="T77" fmla="*/ 2 h 2"/>
              <a:gd name="T78" fmla="*/ 143 w 226"/>
              <a:gd name="T79" fmla="*/ 0 h 2"/>
              <a:gd name="T80" fmla="*/ 163 w 226"/>
              <a:gd name="T81" fmla="*/ 0 h 2"/>
              <a:gd name="T82" fmla="*/ 178 w 226"/>
              <a:gd name="T83" fmla="*/ 0 h 2"/>
              <a:gd name="T84" fmla="*/ 178 w 226"/>
              <a:gd name="T85" fmla="*/ 2 h 2"/>
              <a:gd name="T86" fmla="*/ 163 w 226"/>
              <a:gd name="T87" fmla="*/ 2 h 2"/>
              <a:gd name="T88" fmla="*/ 163 w 226"/>
              <a:gd name="T89" fmla="*/ 0 h 2"/>
              <a:gd name="T90" fmla="*/ 183 w 226"/>
              <a:gd name="T91" fmla="*/ 0 h 2"/>
              <a:gd name="T92" fmla="*/ 198 w 226"/>
              <a:gd name="T93" fmla="*/ 0 h 2"/>
              <a:gd name="T94" fmla="*/ 198 w 226"/>
              <a:gd name="T95" fmla="*/ 2 h 2"/>
              <a:gd name="T96" fmla="*/ 183 w 226"/>
              <a:gd name="T97" fmla="*/ 2 h 2"/>
              <a:gd name="T98" fmla="*/ 183 w 226"/>
              <a:gd name="T99" fmla="*/ 0 h 2"/>
              <a:gd name="T100" fmla="*/ 204 w 226"/>
              <a:gd name="T101" fmla="*/ 0 h 2"/>
              <a:gd name="T102" fmla="*/ 219 w 226"/>
              <a:gd name="T103" fmla="*/ 0 h 2"/>
              <a:gd name="T104" fmla="*/ 219 w 226"/>
              <a:gd name="T105" fmla="*/ 2 h 2"/>
              <a:gd name="T106" fmla="*/ 204 w 226"/>
              <a:gd name="T107" fmla="*/ 2 h 2"/>
              <a:gd name="T108" fmla="*/ 204 w 226"/>
              <a:gd name="T109" fmla="*/ 0 h 2"/>
              <a:gd name="T110" fmla="*/ 224 w 226"/>
              <a:gd name="T111" fmla="*/ 0 h 2"/>
              <a:gd name="T112" fmla="*/ 226 w 226"/>
              <a:gd name="T113" fmla="*/ 0 h 2"/>
              <a:gd name="T114" fmla="*/ 226 w 226"/>
              <a:gd name="T115" fmla="*/ 2 h 2"/>
              <a:gd name="T116" fmla="*/ 224 w 226"/>
              <a:gd name="T117" fmla="*/ 2 h 2"/>
              <a:gd name="T118" fmla="*/ 224 w 226"/>
              <a:gd name="T11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26" h="2">
                <a:moveTo>
                  <a:pt x="0" y="0"/>
                </a:moveTo>
                <a:lnTo>
                  <a:pt x="15" y="0"/>
                </a:lnTo>
                <a:lnTo>
                  <a:pt x="15" y="2"/>
                </a:lnTo>
                <a:lnTo>
                  <a:pt x="0" y="2"/>
                </a:lnTo>
                <a:lnTo>
                  <a:pt x="0" y="0"/>
                </a:lnTo>
                <a:close/>
                <a:moveTo>
                  <a:pt x="20" y="0"/>
                </a:moveTo>
                <a:lnTo>
                  <a:pt x="35" y="0"/>
                </a:lnTo>
                <a:lnTo>
                  <a:pt x="35" y="2"/>
                </a:lnTo>
                <a:lnTo>
                  <a:pt x="20" y="2"/>
                </a:lnTo>
                <a:lnTo>
                  <a:pt x="20" y="0"/>
                </a:lnTo>
                <a:close/>
                <a:moveTo>
                  <a:pt x="41" y="0"/>
                </a:moveTo>
                <a:lnTo>
                  <a:pt x="56" y="0"/>
                </a:lnTo>
                <a:lnTo>
                  <a:pt x="56" y="2"/>
                </a:lnTo>
                <a:lnTo>
                  <a:pt x="41" y="2"/>
                </a:lnTo>
                <a:lnTo>
                  <a:pt x="41" y="0"/>
                </a:lnTo>
                <a:close/>
                <a:moveTo>
                  <a:pt x="61" y="0"/>
                </a:moveTo>
                <a:lnTo>
                  <a:pt x="76" y="0"/>
                </a:lnTo>
                <a:lnTo>
                  <a:pt x="76" y="2"/>
                </a:lnTo>
                <a:lnTo>
                  <a:pt x="61" y="2"/>
                </a:lnTo>
                <a:lnTo>
                  <a:pt x="61" y="0"/>
                </a:lnTo>
                <a:close/>
                <a:moveTo>
                  <a:pt x="82" y="0"/>
                </a:moveTo>
                <a:lnTo>
                  <a:pt x="96" y="0"/>
                </a:lnTo>
                <a:lnTo>
                  <a:pt x="96" y="2"/>
                </a:lnTo>
                <a:lnTo>
                  <a:pt x="82" y="2"/>
                </a:lnTo>
                <a:lnTo>
                  <a:pt x="82" y="0"/>
                </a:lnTo>
                <a:close/>
                <a:moveTo>
                  <a:pt x="102" y="0"/>
                </a:moveTo>
                <a:lnTo>
                  <a:pt x="117" y="0"/>
                </a:lnTo>
                <a:lnTo>
                  <a:pt x="117" y="2"/>
                </a:lnTo>
                <a:lnTo>
                  <a:pt x="102" y="2"/>
                </a:lnTo>
                <a:lnTo>
                  <a:pt x="102" y="0"/>
                </a:lnTo>
                <a:close/>
                <a:moveTo>
                  <a:pt x="122" y="0"/>
                </a:moveTo>
                <a:lnTo>
                  <a:pt x="137" y="0"/>
                </a:lnTo>
                <a:lnTo>
                  <a:pt x="137" y="2"/>
                </a:lnTo>
                <a:lnTo>
                  <a:pt x="122" y="2"/>
                </a:lnTo>
                <a:lnTo>
                  <a:pt x="122" y="0"/>
                </a:lnTo>
                <a:close/>
                <a:moveTo>
                  <a:pt x="143" y="0"/>
                </a:moveTo>
                <a:lnTo>
                  <a:pt x="157" y="0"/>
                </a:lnTo>
                <a:lnTo>
                  <a:pt x="157" y="2"/>
                </a:lnTo>
                <a:lnTo>
                  <a:pt x="143" y="2"/>
                </a:lnTo>
                <a:lnTo>
                  <a:pt x="143" y="0"/>
                </a:lnTo>
                <a:close/>
                <a:moveTo>
                  <a:pt x="163" y="0"/>
                </a:moveTo>
                <a:lnTo>
                  <a:pt x="178" y="0"/>
                </a:lnTo>
                <a:lnTo>
                  <a:pt x="178" y="2"/>
                </a:lnTo>
                <a:lnTo>
                  <a:pt x="163" y="2"/>
                </a:lnTo>
                <a:lnTo>
                  <a:pt x="163" y="0"/>
                </a:lnTo>
                <a:close/>
                <a:moveTo>
                  <a:pt x="183" y="0"/>
                </a:moveTo>
                <a:lnTo>
                  <a:pt x="198" y="0"/>
                </a:lnTo>
                <a:lnTo>
                  <a:pt x="198" y="2"/>
                </a:lnTo>
                <a:lnTo>
                  <a:pt x="183" y="2"/>
                </a:lnTo>
                <a:lnTo>
                  <a:pt x="183" y="0"/>
                </a:lnTo>
                <a:close/>
                <a:moveTo>
                  <a:pt x="204" y="0"/>
                </a:moveTo>
                <a:lnTo>
                  <a:pt x="219" y="0"/>
                </a:lnTo>
                <a:lnTo>
                  <a:pt x="219" y="2"/>
                </a:lnTo>
                <a:lnTo>
                  <a:pt x="204" y="2"/>
                </a:lnTo>
                <a:lnTo>
                  <a:pt x="204" y="0"/>
                </a:lnTo>
                <a:close/>
                <a:moveTo>
                  <a:pt x="224" y="0"/>
                </a:moveTo>
                <a:lnTo>
                  <a:pt x="226" y="0"/>
                </a:lnTo>
                <a:lnTo>
                  <a:pt x="226" y="2"/>
                </a:lnTo>
                <a:lnTo>
                  <a:pt x="224" y="2"/>
                </a:lnTo>
                <a:lnTo>
                  <a:pt x="224" y="0"/>
                </a:lnTo>
                <a:close/>
              </a:path>
            </a:pathLst>
          </a:custGeom>
          <a:solidFill>
            <a:srgbClr val="000000"/>
          </a:solidFill>
          <a:ln w="9525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b="1" dirty="0">
              <a:solidFill>
                <a:srgbClr val="002060"/>
              </a:solidFill>
            </a:endParaRPr>
          </a:p>
        </p:txBody>
      </p:sp>
      <p:grpSp>
        <p:nvGrpSpPr>
          <p:cNvPr id="11" name="Group 22"/>
          <p:cNvGrpSpPr>
            <a:grpSpLocks/>
          </p:cNvGrpSpPr>
          <p:nvPr/>
        </p:nvGrpSpPr>
        <p:grpSpPr bwMode="auto">
          <a:xfrm>
            <a:off x="6457576" y="2388189"/>
            <a:ext cx="4822827" cy="3131688"/>
            <a:chOff x="4186" y="1645"/>
            <a:chExt cx="3038" cy="1362"/>
          </a:xfrm>
        </p:grpSpPr>
        <p:sp>
          <p:nvSpPr>
            <p:cNvPr id="30" name="Rectangle 15"/>
            <p:cNvSpPr>
              <a:spLocks noChangeArrowheads="1"/>
            </p:cNvSpPr>
            <p:nvPr/>
          </p:nvSpPr>
          <p:spPr bwMode="auto">
            <a:xfrm>
              <a:off x="4296" y="1645"/>
              <a:ext cx="284" cy="1362"/>
            </a:xfrm>
            <a:prstGeom prst="rect">
              <a:avLst/>
            </a:prstGeom>
            <a:gradFill>
              <a:gsLst>
                <a:gs pos="0">
                  <a:schemeClr val="accent2">
                    <a:lumMod val="20000"/>
                    <a:lumOff val="80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rgbClr val="002060"/>
                </a:gs>
              </a:gsLst>
            </a:gra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b="1" dirty="0">
                <a:solidFill>
                  <a:srgbClr val="002060"/>
                </a:solidFill>
              </a:endParaRPr>
            </a:p>
          </p:txBody>
        </p:sp>
        <p:sp>
          <p:nvSpPr>
            <p:cNvPr id="31" name="Rectangle 16"/>
            <p:cNvSpPr>
              <a:spLocks noChangeArrowheads="1"/>
            </p:cNvSpPr>
            <p:nvPr/>
          </p:nvSpPr>
          <p:spPr bwMode="auto">
            <a:xfrm>
              <a:off x="4805" y="1645"/>
              <a:ext cx="278" cy="27"/>
            </a:xfrm>
            <a:prstGeom prst="rect">
              <a:avLst/>
            </a:prstGeom>
            <a:gradFill>
              <a:gsLst>
                <a:gs pos="0">
                  <a:schemeClr val="accent2">
                    <a:lumMod val="20000"/>
                    <a:lumOff val="80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rgbClr val="002060"/>
                </a:gs>
              </a:gsLst>
            </a:gra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b="1" dirty="0">
                <a:solidFill>
                  <a:srgbClr val="002060"/>
                </a:solidFill>
              </a:endParaRPr>
            </a:p>
          </p:txBody>
        </p:sp>
        <p:sp>
          <p:nvSpPr>
            <p:cNvPr id="32" name="Rectangle 17"/>
            <p:cNvSpPr>
              <a:spLocks noChangeArrowheads="1"/>
            </p:cNvSpPr>
            <p:nvPr/>
          </p:nvSpPr>
          <p:spPr bwMode="auto">
            <a:xfrm>
              <a:off x="5309" y="1672"/>
              <a:ext cx="283" cy="193"/>
            </a:xfrm>
            <a:prstGeom prst="rect">
              <a:avLst/>
            </a:prstGeom>
            <a:gradFill>
              <a:gsLst>
                <a:gs pos="0">
                  <a:schemeClr val="accent2">
                    <a:lumMod val="20000"/>
                    <a:lumOff val="80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rgbClr val="002060"/>
                </a:gs>
              </a:gsLst>
            </a:gra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b="1" dirty="0">
                <a:solidFill>
                  <a:srgbClr val="002060"/>
                </a:solidFill>
              </a:endParaRPr>
            </a:p>
          </p:txBody>
        </p:sp>
        <p:sp>
          <p:nvSpPr>
            <p:cNvPr id="33" name="Rectangle 18"/>
            <p:cNvSpPr>
              <a:spLocks noChangeArrowheads="1"/>
            </p:cNvSpPr>
            <p:nvPr/>
          </p:nvSpPr>
          <p:spPr bwMode="auto">
            <a:xfrm>
              <a:off x="5818" y="1865"/>
              <a:ext cx="277" cy="679"/>
            </a:xfrm>
            <a:prstGeom prst="rect">
              <a:avLst/>
            </a:prstGeom>
            <a:gradFill>
              <a:gsLst>
                <a:gs pos="0">
                  <a:schemeClr val="accent2">
                    <a:lumMod val="20000"/>
                    <a:lumOff val="80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rgbClr val="002060"/>
                </a:gs>
              </a:gsLst>
            </a:gra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b="1" dirty="0">
                <a:solidFill>
                  <a:srgbClr val="002060"/>
                </a:solidFill>
              </a:endParaRPr>
            </a:p>
          </p:txBody>
        </p:sp>
        <p:sp>
          <p:nvSpPr>
            <p:cNvPr id="34" name="Rectangle 19"/>
            <p:cNvSpPr>
              <a:spLocks noChangeArrowheads="1"/>
            </p:cNvSpPr>
            <p:nvPr/>
          </p:nvSpPr>
          <p:spPr bwMode="auto">
            <a:xfrm>
              <a:off x="6321" y="2544"/>
              <a:ext cx="284" cy="452"/>
            </a:xfrm>
            <a:prstGeom prst="rect">
              <a:avLst/>
            </a:prstGeom>
            <a:gradFill>
              <a:gsLst>
                <a:gs pos="0">
                  <a:schemeClr val="accent2">
                    <a:lumMod val="20000"/>
                    <a:lumOff val="80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rgbClr val="002060"/>
                </a:gs>
              </a:gsLst>
            </a:gra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b="1" dirty="0">
                <a:solidFill>
                  <a:srgbClr val="002060"/>
                </a:solidFill>
              </a:endParaRPr>
            </a:p>
          </p:txBody>
        </p:sp>
        <p:sp>
          <p:nvSpPr>
            <p:cNvPr id="35" name="Rectangle 20"/>
            <p:cNvSpPr>
              <a:spLocks noChangeArrowheads="1"/>
            </p:cNvSpPr>
            <p:nvPr/>
          </p:nvSpPr>
          <p:spPr bwMode="auto">
            <a:xfrm>
              <a:off x="6830" y="2996"/>
              <a:ext cx="278" cy="11"/>
            </a:xfrm>
            <a:prstGeom prst="rect">
              <a:avLst/>
            </a:prstGeom>
            <a:solidFill>
              <a:srgbClr val="48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b="1" dirty="0">
                <a:solidFill>
                  <a:srgbClr val="002060"/>
                </a:solidFill>
              </a:endParaRPr>
            </a:p>
          </p:txBody>
        </p:sp>
        <p:sp>
          <p:nvSpPr>
            <p:cNvPr id="36" name="Line 21"/>
            <p:cNvSpPr>
              <a:spLocks noChangeShapeType="1"/>
            </p:cNvSpPr>
            <p:nvPr/>
          </p:nvSpPr>
          <p:spPr bwMode="auto">
            <a:xfrm>
              <a:off x="4186" y="3007"/>
              <a:ext cx="3038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pt-B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b="1">
                <a:solidFill>
                  <a:srgbClr val="002060"/>
                </a:solidFill>
              </a:endParaRPr>
            </a:p>
          </p:txBody>
        </p:sp>
      </p:grpSp>
      <p:sp>
        <p:nvSpPr>
          <p:cNvPr id="12" name="Rectangle 23"/>
          <p:cNvSpPr>
            <a:spLocks noChangeArrowheads="1"/>
          </p:cNvSpPr>
          <p:nvPr/>
        </p:nvSpPr>
        <p:spPr bwMode="auto">
          <a:xfrm>
            <a:off x="7522785" y="2114568"/>
            <a:ext cx="2067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+mn-lt"/>
              </a:rPr>
              <a:t>2%</a:t>
            </a:r>
            <a:endParaRPr kumimoji="0" lang="en-US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+mn-lt"/>
            </a:endParaRPr>
          </a:p>
        </p:txBody>
      </p:sp>
      <p:sp>
        <p:nvSpPr>
          <p:cNvPr id="13" name="Rectangle 24"/>
          <p:cNvSpPr>
            <a:spLocks noChangeArrowheads="1"/>
          </p:cNvSpPr>
          <p:nvPr/>
        </p:nvSpPr>
        <p:spPr bwMode="auto">
          <a:xfrm>
            <a:off x="7519610" y="5653237"/>
            <a:ext cx="28373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+mn-lt"/>
              </a:rPr>
              <a:t>PhD</a:t>
            </a:r>
            <a:endParaRPr kumimoji="0" lang="en-US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+mn-lt"/>
            </a:endParaRPr>
          </a:p>
        </p:txBody>
      </p:sp>
      <p:sp>
        <p:nvSpPr>
          <p:cNvPr id="14" name="Rectangle 25"/>
          <p:cNvSpPr>
            <a:spLocks noChangeArrowheads="1"/>
          </p:cNvSpPr>
          <p:nvPr/>
        </p:nvSpPr>
        <p:spPr bwMode="auto">
          <a:xfrm>
            <a:off x="8316535" y="2235350"/>
            <a:ext cx="291747" cy="20005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14%</a:t>
            </a:r>
            <a:endParaRPr kumimoji="0" lang="en-US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15" name="Rectangle 26"/>
          <p:cNvSpPr>
            <a:spLocks noChangeArrowheads="1"/>
          </p:cNvSpPr>
          <p:nvPr/>
        </p:nvSpPr>
        <p:spPr bwMode="auto">
          <a:xfrm>
            <a:off x="6689348" y="5653237"/>
            <a:ext cx="336631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+mn-lt"/>
              </a:rPr>
              <a:t>Total</a:t>
            </a:r>
            <a:endParaRPr kumimoji="0" lang="en-US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+mn-lt"/>
            </a:endParaRPr>
          </a:p>
        </p:txBody>
      </p:sp>
      <p:sp>
        <p:nvSpPr>
          <p:cNvPr id="16" name="Rectangle 27"/>
          <p:cNvSpPr>
            <a:spLocks noChangeArrowheads="1"/>
          </p:cNvSpPr>
          <p:nvPr/>
        </p:nvSpPr>
        <p:spPr bwMode="auto">
          <a:xfrm>
            <a:off x="6665535" y="2066282"/>
            <a:ext cx="376706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+mn-lt"/>
              </a:rPr>
              <a:t>100%</a:t>
            </a:r>
            <a:endParaRPr kumimoji="0" lang="en-US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+mn-lt"/>
            </a:endParaRPr>
          </a:p>
        </p:txBody>
      </p:sp>
      <p:sp>
        <p:nvSpPr>
          <p:cNvPr id="17" name="Rectangle 28"/>
          <p:cNvSpPr>
            <a:spLocks noChangeArrowheads="1"/>
          </p:cNvSpPr>
          <p:nvPr/>
        </p:nvSpPr>
        <p:spPr bwMode="auto">
          <a:xfrm>
            <a:off x="9924673" y="4198042"/>
            <a:ext cx="291747" cy="20005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33%</a:t>
            </a:r>
            <a:endParaRPr kumimoji="0" lang="en-US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18" name="Rectangle 29"/>
          <p:cNvSpPr>
            <a:spLocks noChangeArrowheads="1"/>
          </p:cNvSpPr>
          <p:nvPr/>
        </p:nvSpPr>
        <p:spPr bwMode="auto">
          <a:xfrm>
            <a:off x="9816723" y="5653237"/>
            <a:ext cx="726161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+mn-lt"/>
              </a:rPr>
              <a:t>Technician</a:t>
            </a:r>
            <a:endParaRPr kumimoji="0" lang="en-US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+mn-lt"/>
            </a:endParaRPr>
          </a:p>
        </p:txBody>
      </p:sp>
      <p:sp>
        <p:nvSpPr>
          <p:cNvPr id="19" name="Rectangle 30"/>
          <p:cNvSpPr>
            <a:spLocks noChangeArrowheads="1"/>
          </p:cNvSpPr>
          <p:nvPr/>
        </p:nvSpPr>
        <p:spPr bwMode="auto">
          <a:xfrm>
            <a:off x="9102187" y="2655021"/>
            <a:ext cx="291747" cy="20005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0%</a:t>
            </a:r>
            <a:endParaRPr lang="en-US" sz="13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Rectangle 31"/>
          <p:cNvSpPr>
            <a:spLocks noChangeArrowheads="1"/>
          </p:cNvSpPr>
          <p:nvPr/>
        </p:nvSpPr>
        <p:spPr bwMode="auto">
          <a:xfrm>
            <a:off x="9181723" y="5653237"/>
            <a:ext cx="171522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+mn-lt"/>
              </a:rPr>
              <a:t>BS</a:t>
            </a:r>
            <a:endParaRPr kumimoji="0" lang="en-US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+mn-lt"/>
            </a:endParaRPr>
          </a:p>
        </p:txBody>
      </p:sp>
      <p:sp>
        <p:nvSpPr>
          <p:cNvPr id="21" name="Rectangle 32"/>
          <p:cNvSpPr>
            <a:spLocks noChangeArrowheads="1"/>
          </p:cNvSpPr>
          <p:nvPr/>
        </p:nvSpPr>
        <p:spPr bwMode="auto">
          <a:xfrm>
            <a:off x="10699373" y="5653237"/>
            <a:ext cx="418384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+mn-lt"/>
              </a:rPr>
              <a:t>Basics</a:t>
            </a:r>
            <a:endParaRPr kumimoji="0" lang="en-US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+mn-lt"/>
            </a:endParaRPr>
          </a:p>
        </p:txBody>
      </p:sp>
      <p:sp>
        <p:nvSpPr>
          <p:cNvPr id="22" name="Rectangle 33"/>
          <p:cNvSpPr>
            <a:spLocks noChangeArrowheads="1"/>
          </p:cNvSpPr>
          <p:nvPr/>
        </p:nvSpPr>
        <p:spPr bwMode="auto">
          <a:xfrm>
            <a:off x="10773985" y="5172677"/>
            <a:ext cx="206788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+mn-lt"/>
              </a:rPr>
              <a:t>1%</a:t>
            </a:r>
            <a:endParaRPr kumimoji="0" lang="en-US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+mn-lt"/>
            </a:endParaRPr>
          </a:p>
        </p:txBody>
      </p:sp>
      <p:sp>
        <p:nvSpPr>
          <p:cNvPr id="23" name="Rectangle 34"/>
          <p:cNvSpPr>
            <a:spLocks noChangeArrowheads="1"/>
          </p:cNvSpPr>
          <p:nvPr/>
        </p:nvSpPr>
        <p:spPr bwMode="auto">
          <a:xfrm>
            <a:off x="8314948" y="5653237"/>
            <a:ext cx="294953" cy="2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3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+mn-lt"/>
              </a:rPr>
              <a:t>MSc</a:t>
            </a:r>
            <a:endParaRPr kumimoji="0" lang="en-US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+mn-lt"/>
            </a:endParaRPr>
          </a:p>
        </p:txBody>
      </p:sp>
      <p:sp>
        <p:nvSpPr>
          <p:cNvPr id="24" name="Rectangle 35"/>
          <p:cNvSpPr>
            <a:spLocks noChangeArrowheads="1"/>
          </p:cNvSpPr>
          <p:nvPr/>
        </p:nvSpPr>
        <p:spPr bwMode="auto">
          <a:xfrm>
            <a:off x="7231051" y="1530354"/>
            <a:ext cx="298536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 sz="1600" b="1" i="0" u="none" strike="noStrike" kern="1200" baseline="0">
                <a:solidFill>
                  <a:srgbClr val="373545"/>
                </a:solidFill>
                <a:latin typeface="+mn-lt"/>
                <a:ea typeface="+mn-ea"/>
                <a:cs typeface="+mn-cs"/>
              </a:defRPr>
            </a:pPr>
            <a:r>
              <a:rPr lang="en-US" sz="2000" b="1" dirty="0" smtClean="0">
                <a:solidFill>
                  <a:srgbClr val="002060"/>
                </a:solidFill>
                <a:latin typeface="+mn-lt"/>
              </a:rPr>
              <a:t>Workforce educational level</a:t>
            </a:r>
            <a:endParaRPr lang="en-US" sz="20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5" name="Rectangle 36"/>
          <p:cNvSpPr>
            <a:spLocks noChangeArrowheads="1"/>
          </p:cNvSpPr>
          <p:nvPr/>
        </p:nvSpPr>
        <p:spPr bwMode="auto">
          <a:xfrm>
            <a:off x="8618160" y="1707587"/>
            <a:ext cx="6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+mn-lt"/>
            </a:endParaRPr>
          </a:p>
        </p:txBody>
      </p:sp>
      <p:sp>
        <p:nvSpPr>
          <p:cNvPr id="28" name="Triângulo isósceles 27"/>
          <p:cNvSpPr/>
          <p:nvPr/>
        </p:nvSpPr>
        <p:spPr>
          <a:xfrm rot="5400000">
            <a:off x="3633011" y="3492922"/>
            <a:ext cx="4322938" cy="370505"/>
          </a:xfrm>
          <a:prstGeom prst="triangle">
            <a:avLst/>
          </a:prstGeom>
          <a:solidFill>
            <a:srgbClr val="CAB6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dirty="0"/>
          </a:p>
        </p:txBody>
      </p:sp>
      <p:pic>
        <p:nvPicPr>
          <p:cNvPr id="29" name="Imagem 2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2066" y="1230467"/>
            <a:ext cx="4418474" cy="4888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740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66950" y="389056"/>
            <a:ext cx="10515600" cy="504737"/>
          </a:xfrm>
        </p:spPr>
        <p:txBody>
          <a:bodyPr/>
          <a:lstStyle/>
          <a:p>
            <a:r>
              <a:rPr lang="pt-BR" dirty="0"/>
              <a:t>OPORTUNIDADES OFERECIDAS AO BRASIL</a:t>
            </a:r>
          </a:p>
        </p:txBody>
      </p:sp>
    </p:spTree>
    <p:extLst>
      <p:ext uri="{BB962C8B-B14F-4D97-AF65-F5344CB8AC3E}">
        <p14:creationId xmlns:p14="http://schemas.microsoft.com/office/powerpoint/2010/main" val="2761172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9718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4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43493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6465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7041" y="414337"/>
            <a:ext cx="8562604" cy="504737"/>
          </a:xfrm>
        </p:spPr>
        <p:txBody>
          <a:bodyPr anchor="b"/>
          <a:lstStyle/>
          <a:p>
            <a:r>
              <a:rPr lang="pt-BR" b="1" dirty="0">
                <a:solidFill>
                  <a:srgbClr val="75777A"/>
                </a:solidFill>
              </a:rPr>
              <a:t>GRUPO AKAER</a:t>
            </a:r>
            <a:endParaRPr lang="en-US" b="1" dirty="0">
              <a:solidFill>
                <a:srgbClr val="75777A"/>
              </a:solidFill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858838" y="1227138"/>
            <a:ext cx="10477500" cy="3695700"/>
            <a:chOff x="858838" y="1227138"/>
            <a:chExt cx="10477500" cy="3695700"/>
          </a:xfrm>
        </p:grpSpPr>
        <p:pic>
          <p:nvPicPr>
            <p:cNvPr id="68610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8838" y="1227138"/>
              <a:ext cx="10477500" cy="36957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" name="CaixaDeTexto 2"/>
            <p:cNvSpPr txBox="1"/>
            <p:nvPr/>
          </p:nvSpPr>
          <p:spPr>
            <a:xfrm>
              <a:off x="2505719" y="2505692"/>
              <a:ext cx="985652" cy="38001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pt-BR" dirty="0" smtClean="0"/>
                <a:t>57,79%</a:t>
              </a:r>
              <a:endParaRPr lang="en-US" dirty="0"/>
            </a:p>
          </p:txBody>
        </p:sp>
        <p:sp>
          <p:nvSpPr>
            <p:cNvPr id="4" name="CaixaDeTexto 3"/>
            <p:cNvSpPr txBox="1"/>
            <p:nvPr/>
          </p:nvSpPr>
          <p:spPr>
            <a:xfrm>
              <a:off x="6472017" y="2505692"/>
              <a:ext cx="931822" cy="38001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pt-BR" dirty="0" smtClean="0"/>
                <a:t>42,21%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4001002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07041" y="414337"/>
            <a:ext cx="8562604" cy="504737"/>
          </a:xfrm>
        </p:spPr>
        <p:txBody>
          <a:bodyPr/>
          <a:lstStyle/>
          <a:p>
            <a:r>
              <a:rPr lang="en-US" b="1" dirty="0" smtClean="0">
                <a:solidFill>
                  <a:srgbClr val="75777A"/>
                </a:solidFill>
              </a:rPr>
              <a:t>FIELDS</a:t>
            </a:r>
            <a:endParaRPr lang="en-US" b="1" dirty="0">
              <a:solidFill>
                <a:srgbClr val="75777A"/>
              </a:solidFill>
            </a:endParaRP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2221049201"/>
              </p:ext>
            </p:extLst>
          </p:nvPr>
        </p:nvGraphicFramePr>
        <p:xfrm>
          <a:off x="1875820" y="1058598"/>
          <a:ext cx="7363182" cy="55084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eta para a direita 3"/>
          <p:cNvSpPr/>
          <p:nvPr/>
        </p:nvSpPr>
        <p:spPr>
          <a:xfrm>
            <a:off x="807041" y="2442949"/>
            <a:ext cx="857986" cy="5732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68988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 smtClean="0">
                <a:solidFill>
                  <a:srgbClr val="75777A"/>
                </a:solidFill>
              </a:rPr>
              <a:t>SOAR TELESCOPE (CHILE</a:t>
            </a:r>
            <a:r>
              <a:rPr lang="pt-BR" b="1" dirty="0" smtClean="0">
                <a:solidFill>
                  <a:srgbClr val="75777A"/>
                </a:solidFill>
              </a:rPr>
              <a:t>)</a:t>
            </a:r>
            <a:endParaRPr lang="en-US" b="1" dirty="0">
              <a:solidFill>
                <a:srgbClr val="75777A"/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92422" y="1197871"/>
            <a:ext cx="6121388" cy="3961245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915" y="2391507"/>
            <a:ext cx="5558908" cy="4169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014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75777A"/>
                </a:solidFill>
              </a:rPr>
              <a:t>PIERRE </a:t>
            </a:r>
            <a:r>
              <a:rPr lang="en-US" b="1" dirty="0" smtClean="0">
                <a:solidFill>
                  <a:srgbClr val="75777A"/>
                </a:solidFill>
              </a:rPr>
              <a:t>AUGER </a:t>
            </a:r>
            <a:r>
              <a:rPr lang="en-US" b="1" dirty="0" smtClean="0">
                <a:solidFill>
                  <a:srgbClr val="75777A"/>
                </a:solidFill>
              </a:rPr>
              <a:t>OBSERVATORY (ARGENTINA</a:t>
            </a:r>
            <a:r>
              <a:rPr lang="en-US" b="1" dirty="0" smtClean="0">
                <a:solidFill>
                  <a:srgbClr val="75777A"/>
                </a:solidFill>
              </a:rPr>
              <a:t>)</a:t>
            </a:r>
            <a:endParaRPr lang="en-US" b="1" dirty="0">
              <a:solidFill>
                <a:srgbClr val="75777A"/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346" y="2975241"/>
            <a:ext cx="5669280" cy="3681710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4901" y="1180170"/>
            <a:ext cx="6015130" cy="3419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666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400084"/>
            <a:ext cx="10515600" cy="504737"/>
          </a:xfrm>
        </p:spPr>
        <p:txBody>
          <a:bodyPr/>
          <a:lstStyle/>
          <a:p>
            <a:r>
              <a:rPr lang="en-US" b="1" dirty="0">
                <a:solidFill>
                  <a:srgbClr val="75777A"/>
                </a:solidFill>
              </a:rPr>
              <a:t>SIRIUS (LNLS</a:t>
            </a:r>
            <a:r>
              <a:rPr lang="en-US" b="1" dirty="0" smtClean="0">
                <a:solidFill>
                  <a:srgbClr val="75777A"/>
                </a:solidFill>
              </a:rPr>
              <a:t>): </a:t>
            </a:r>
            <a:r>
              <a:rPr lang="en-US" b="1" dirty="0" smtClean="0">
                <a:solidFill>
                  <a:srgbClr val="75777A"/>
                </a:solidFill>
              </a:rPr>
              <a:t>ELECTRONS FLUORESCENT MONITOR</a:t>
            </a:r>
            <a:endParaRPr lang="en-US" b="1" dirty="0">
              <a:solidFill>
                <a:srgbClr val="75777A"/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4076" y="1129113"/>
            <a:ext cx="4487513" cy="3480657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91589" y="1129113"/>
            <a:ext cx="4109431" cy="3078252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02104" y="1129113"/>
            <a:ext cx="3060880" cy="2507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369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400084"/>
            <a:ext cx="10515600" cy="504737"/>
          </a:xfrm>
        </p:spPr>
        <p:txBody>
          <a:bodyPr/>
          <a:lstStyle/>
          <a:p>
            <a:r>
              <a:rPr lang="en-US" b="1" dirty="0">
                <a:solidFill>
                  <a:srgbClr val="75777A"/>
                </a:solidFill>
              </a:rPr>
              <a:t>SIRIUS (LNLS</a:t>
            </a:r>
            <a:r>
              <a:rPr lang="en-US" b="1" dirty="0" smtClean="0">
                <a:solidFill>
                  <a:srgbClr val="75777A"/>
                </a:solidFill>
              </a:rPr>
              <a:t>): </a:t>
            </a:r>
            <a:r>
              <a:rPr lang="en-US" b="1" dirty="0" smtClean="0">
                <a:solidFill>
                  <a:srgbClr val="75777A"/>
                </a:solidFill>
              </a:rPr>
              <a:t>X RAYS DETECTOR</a:t>
            </a:r>
            <a:endParaRPr lang="en-US" b="1" dirty="0">
              <a:solidFill>
                <a:srgbClr val="75777A"/>
              </a:solidFill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128712"/>
            <a:ext cx="7610475" cy="460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599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400084"/>
            <a:ext cx="10515600" cy="504737"/>
          </a:xfrm>
        </p:spPr>
        <p:txBody>
          <a:bodyPr/>
          <a:lstStyle/>
          <a:p>
            <a:r>
              <a:rPr lang="en-US" b="1" dirty="0">
                <a:solidFill>
                  <a:srgbClr val="75777A"/>
                </a:solidFill>
              </a:rPr>
              <a:t>SIRIUS (LNLS</a:t>
            </a:r>
            <a:r>
              <a:rPr lang="en-US" b="1" dirty="0" smtClean="0">
                <a:solidFill>
                  <a:srgbClr val="75777A"/>
                </a:solidFill>
              </a:rPr>
              <a:t>): </a:t>
            </a:r>
            <a:r>
              <a:rPr lang="en-US" b="1" dirty="0" smtClean="0">
                <a:solidFill>
                  <a:srgbClr val="75777A"/>
                </a:solidFill>
              </a:rPr>
              <a:t>PHOTON SHUTTER</a:t>
            </a:r>
            <a:endParaRPr lang="en-US" b="1" dirty="0">
              <a:solidFill>
                <a:srgbClr val="75777A"/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9898" y="1301431"/>
            <a:ext cx="7736358" cy="4719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846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1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0&quot;&gt;&lt;m_msothmcolidx val=&quot;0&quot;/&gt;&lt;m_rgb r=&quot;AA&quot; g=&quot;24&quot; b=&quot;38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kaer PowerPoint template">
  <a:themeElements>
    <a:clrScheme name="Equatorial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42929D"/>
      </a:accent1>
      <a:accent2>
        <a:srgbClr val="06C245"/>
      </a:accent2>
      <a:accent3>
        <a:srgbClr val="75777A"/>
      </a:accent3>
      <a:accent4>
        <a:srgbClr val="827058"/>
      </a:accent4>
      <a:accent5>
        <a:srgbClr val="DCDAC1"/>
      </a:accent5>
      <a:accent6>
        <a:srgbClr val="6F8183"/>
      </a:accent6>
      <a:hlink>
        <a:srgbClr val="00B0F0"/>
      </a:hlink>
      <a:folHlink>
        <a:srgbClr val="7030A0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Equatorial.potx" id="{F36E31D4-3B23-4B59-908F-00FC16E39699}" vid="{26EF5DB8-360C-4F69-9047-51ACA3FA8529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quatorial</Template>
  <TotalTime>8495</TotalTime>
  <Words>122</Words>
  <Application>Microsoft Office PowerPoint</Application>
  <PresentationFormat>Widescreen</PresentationFormat>
  <Paragraphs>52</Paragraphs>
  <Slides>17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7</vt:i4>
      </vt:variant>
    </vt:vector>
  </HeadingPairs>
  <TitlesOfParts>
    <vt:vector size="24" baseType="lpstr">
      <vt:lpstr>Andalus</vt:lpstr>
      <vt:lpstr>Arial</vt:lpstr>
      <vt:lpstr>Calibri</vt:lpstr>
      <vt:lpstr>Calibri Light</vt:lpstr>
      <vt:lpstr>Wingdings</vt:lpstr>
      <vt:lpstr>Akaer PowerPoint template</vt:lpstr>
      <vt:lpstr>Slide do think-cell</vt:lpstr>
      <vt:lpstr>Apresentação do PowerPoint</vt:lpstr>
      <vt:lpstr>Apresentação do PowerPoint</vt:lpstr>
      <vt:lpstr>GRUPO AKAER</vt:lpstr>
      <vt:lpstr>FIELDS</vt:lpstr>
      <vt:lpstr>SOAR TELESCOPE (CHILE)</vt:lpstr>
      <vt:lpstr>PIERRE AUGER OBSERVATORY (ARGENTINA)</vt:lpstr>
      <vt:lpstr>SIRIUS (LNLS): ELECTRONS FLUORESCENT MONITOR</vt:lpstr>
      <vt:lpstr>SIRIUS (LNLS): X RAYS DETECTOR</vt:lpstr>
      <vt:lpstr>SIRIUS (LNLS): PHOTON SHUTTER</vt:lpstr>
      <vt:lpstr>DUNE PROJECT</vt:lpstr>
      <vt:lpstr> </vt:lpstr>
      <vt:lpstr> </vt:lpstr>
      <vt:lpstr>DETECTOR 2 (FAR DETECTOR): 34 TON LAr</vt:lpstr>
      <vt:lpstr> </vt:lpstr>
      <vt:lpstr>AKAER GROUP  </vt:lpstr>
      <vt:lpstr>OPORTUNIDADES OFERECIDAS AO BRASIL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ldo da Silva Junior</dc:creator>
  <cp:lastModifiedBy>Ghizoni Cesar</cp:lastModifiedBy>
  <cp:revision>324</cp:revision>
  <cp:lastPrinted>2015-04-12T13:41:01Z</cp:lastPrinted>
  <dcterms:created xsi:type="dcterms:W3CDTF">2019-08-21T17:11:16Z</dcterms:created>
  <dcterms:modified xsi:type="dcterms:W3CDTF">2022-11-10T15:04:14Z</dcterms:modified>
</cp:coreProperties>
</file>